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2658" r:id="rId2"/>
    <p:sldId id="2639" r:id="rId3"/>
    <p:sldId id="2632" r:id="rId4"/>
    <p:sldId id="2790" r:id="rId5"/>
    <p:sldId id="2872" r:id="rId6"/>
    <p:sldId id="2911" r:id="rId7"/>
    <p:sldId id="2915" r:id="rId8"/>
    <p:sldId id="2912" r:id="rId9"/>
    <p:sldId id="2874" r:id="rId10"/>
    <p:sldId id="2916" r:id="rId11"/>
    <p:sldId id="2787" r:id="rId12"/>
    <p:sldId id="2799" r:id="rId13"/>
    <p:sldId id="2871" r:id="rId14"/>
    <p:sldId id="2807" r:id="rId15"/>
    <p:sldId id="2913" r:id="rId16"/>
  </p:sldIdLst>
  <p:sldSz cx="9144000" cy="5143500" type="screen16x9"/>
  <p:notesSz cx="6797675" cy="9928225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DWS Sans" panose="020B0504030101010102" pitchFamily="34" charset="0"/>
      <p:regular r:id="rId23"/>
    </p:embeddedFont>
    <p:embeddedFont>
      <p:font typeface="DWS Sans Light" panose="020B0404020101010102" pitchFamily="34" charset="0"/>
      <p:regular r:id="rId24"/>
    </p:embeddedFont>
    <p:embeddedFont>
      <p:font typeface="DWS Sans TT Bold" panose="02010804010101010104" pitchFamily="2" charset="0"/>
      <p:bold r:id="rId25"/>
    </p:embeddedFont>
    <p:embeddedFont>
      <p:font typeface="DWS Slab" panose="020B0504030101010102" pitchFamily="34" charset="0"/>
      <p:regular r:id="rId26"/>
    </p:embeddedFont>
    <p:embeddedFont>
      <p:font typeface="DWS Slab TT Bold" panose="02010804010101010104" pitchFamily="2" charset="0"/>
      <p:bold r:id="rId27"/>
    </p:embeddedFont>
    <p:embeddedFont>
      <p:font typeface="Rockwell" panose="020606030202050204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5A5B9D-CABB-C7E0-E861-88EBB15D5FF6}" name="Antje Klever" initials="AK" userId="S::antje.klever@db.com::42938efd-cdfe-46d3-9ba3-153e84739d02" providerId="AD"/>
  <p188:author id="{394F6DD9-DE23-245A-F66F-FC080E56E623}" name="Marco Wieland" initials="MW" userId="S::wieland@screenmakers.de::b3e43ad5-0f9e-4bbb-92f6-50de6bab3df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usa Arian" initials="MA" lastIdx="2" clrIdx="0">
    <p:extLst>
      <p:ext uri="{19B8F6BF-5375-455C-9EA6-DF929625EA0E}">
        <p15:presenceInfo xmlns:p15="http://schemas.microsoft.com/office/powerpoint/2012/main" userId="S-1-5-21-1650336054-1974872081-316617838-3740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057"/>
    <a:srgbClr val="EC844A"/>
    <a:srgbClr val="FFFFFF"/>
    <a:srgbClr val="000000"/>
    <a:srgbClr val="101112"/>
    <a:srgbClr val="2B2D2C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9" autoAdjust="0"/>
    <p:restoredTop sz="85129" autoAdjust="0"/>
  </p:normalViewPr>
  <p:slideViewPr>
    <p:cSldViewPr showGuides="1">
      <p:cViewPr varScale="1">
        <p:scale>
          <a:sx n="118" d="100"/>
          <a:sy n="118" d="100"/>
        </p:scale>
        <p:origin x="1428" y="96"/>
      </p:cViewPr>
      <p:guideLst>
        <p:guide orient="horz" pos="985"/>
        <p:guide pos="2880"/>
      </p:guideLst>
    </p:cSldViewPr>
  </p:slideViewPr>
  <p:outlineViewPr>
    <p:cViewPr>
      <p:scale>
        <a:sx n="33" d="100"/>
        <a:sy n="33" d="100"/>
      </p:scale>
      <p:origin x="0" y="-25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834"/>
    </p:cViewPr>
  </p:sorterViewPr>
  <p:notesViewPr>
    <p:cSldViewPr showGuides="1">
      <p:cViewPr>
        <p:scale>
          <a:sx n="75" d="100"/>
          <a:sy n="75" d="100"/>
        </p:scale>
        <p:origin x="4026" y="-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55-4C87-B0AB-B941043CB0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55-4C87-B0AB-B941043CB0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55-4C87-B0AB-B941043CB08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155-4C87-B0AB-B941043CB08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155-4C87-B0AB-B941043CB082}"/>
              </c:ext>
            </c:extLst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79-4A13-98F8-F6CBAD9EE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64021681219543E-2"/>
          <c:y val="4.1852260621246931E-2"/>
          <c:w val="0.71195179895596417"/>
          <c:h val="0.916295478757506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isit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D6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14-45A7-89B1-07572FEB1E55}"/>
              </c:ext>
            </c:extLst>
          </c:dPt>
          <c:dPt>
            <c:idx val="1"/>
            <c:invertIfNegative val="0"/>
            <c:bubble3D val="0"/>
            <c:spPr>
              <a:solidFill>
                <a:srgbClr val="EC844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14-45A7-89B1-07572FEB1E55}"/>
              </c:ext>
            </c:extLst>
          </c:dPt>
          <c:dPt>
            <c:idx val="2"/>
            <c:invertIfNegative val="0"/>
            <c:bubble3D val="0"/>
            <c:spPr>
              <a:solidFill>
                <a:srgbClr val="AAA2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14-45A7-89B1-07572FEB1E55}"/>
              </c:ext>
            </c:extLst>
          </c:dPt>
          <c:dPt>
            <c:idx val="3"/>
            <c:invertIfNegative val="0"/>
            <c:bubble3D val="0"/>
            <c:spPr>
              <a:solidFill>
                <a:srgbClr val="60B46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14-45A7-89B1-07572FEB1E55}"/>
              </c:ext>
            </c:extLst>
          </c:dPt>
          <c:dPt>
            <c:idx val="4"/>
            <c:invertIfNegative val="0"/>
            <c:bubble3D val="0"/>
            <c:spPr>
              <a:solidFill>
                <a:srgbClr val="755BB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14-45A7-89B1-07572FEB1E5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14-45A7-89B1-07572FEB1E55}"/>
              </c:ext>
            </c:extLst>
          </c:dPt>
          <c:cat>
            <c:strRef>
              <c:f>Tabelle1!$A$2:$A$7</c:f>
              <c:strCache>
                <c:ptCount val="6"/>
                <c:pt idx="0">
                  <c:v>Campaign</c:v>
                </c:pt>
                <c:pt idx="1">
                  <c:v>SEA</c:v>
                </c:pt>
                <c:pt idx="2">
                  <c:v>Other Referrer</c:v>
                </c:pt>
                <c:pt idx="3">
                  <c:v>Partnership  </c:v>
                </c:pt>
                <c:pt idx="4">
                  <c:v>Direct</c:v>
                </c:pt>
                <c:pt idx="5">
                  <c:v>SEO</c:v>
                </c:pt>
              </c:strCache>
            </c:strRef>
          </c:cat>
          <c:val>
            <c:numRef>
              <c:f>Tabelle1!$B$2:$B$7</c:f>
              <c:numCache>
                <c:formatCode>_-* #,##0_-;\-* #,##0_-;_-* "-"??_-;_-@_-</c:formatCode>
                <c:ptCount val="6"/>
                <c:pt idx="0">
                  <c:v>7601</c:v>
                </c:pt>
                <c:pt idx="1">
                  <c:v>10692</c:v>
                </c:pt>
                <c:pt idx="2">
                  <c:v>26881</c:v>
                </c:pt>
                <c:pt idx="3">
                  <c:v>217705</c:v>
                </c:pt>
                <c:pt idx="4">
                  <c:v>261466</c:v>
                </c:pt>
                <c:pt idx="5">
                  <c:v>287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14-45A7-89B1-07572FEB1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31044479"/>
        <c:axId val="631029087"/>
      </c:barChart>
      <c:valAx>
        <c:axId val="631029087"/>
        <c:scaling>
          <c:orientation val="minMax"/>
        </c:scaling>
        <c:delete val="1"/>
        <c:axPos val="b"/>
        <c:numFmt formatCode="_-* #,##0_-;\-* #,##0_-;_-* &quot;-&quot;??_-;_-@_-" sourceLinked="1"/>
        <c:majorTickMark val="out"/>
        <c:minorTickMark val="none"/>
        <c:tickLblPos val="nextTo"/>
        <c:crossAx val="631044479"/>
        <c:crosses val="autoZero"/>
        <c:crossBetween val="between"/>
      </c:valAx>
      <c:catAx>
        <c:axId val="63104447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3102908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CFAF4E0D-3CD1-4D22-9E8B-647DFB5086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751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21001" y="4885874"/>
            <a:ext cx="6138364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A7EC4-C3D4-4EA1-B585-C50F8727E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74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100" b="1" kern="1200" cap="none" baseline="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300"/>
      </a:spcBef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69" userDrawn="1">
          <p15:clr>
            <a:srgbClr val="F26B43"/>
          </p15:clr>
        </p15:guide>
        <p15:guide id="2" pos="202" userDrawn="1">
          <p15:clr>
            <a:srgbClr val="F26B43"/>
          </p15:clr>
        </p15:guide>
        <p15:guide id="3" orient="horz" pos="35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299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28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600"/>
              </a:spcBef>
              <a:buClrTx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585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817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9198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435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149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Commitm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C7E714A-B17A-7F57-4037-ACB1B5BA9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60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7">
            <a:extLst>
              <a:ext uri="{FF2B5EF4-FFF2-40B4-BE49-F238E27FC236}">
                <a16:creationId xmlns:a16="http://schemas.microsoft.com/office/drawing/2014/main" id="{77406B5F-4110-4511-B533-804B6219D1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35" name="Source placeholder">
            <a:extLst>
              <a:ext uri="{FF2B5EF4-FFF2-40B4-BE49-F238E27FC236}">
                <a16:creationId xmlns:a16="http://schemas.microsoft.com/office/drawing/2014/main" id="{4DA60CDB-B381-431E-8113-BF1DC12A50B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5112060" y="4860907"/>
            <a:ext cx="3636402" cy="1231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cap="none" baseline="0">
                <a:solidFill>
                  <a:srgbClr val="939494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Disclaimer. </a:t>
            </a:r>
          </a:p>
        </p:txBody>
      </p:sp>
      <p:sp>
        <p:nvSpPr>
          <p:cNvPr id="41" name="Headline">
            <a:extLst>
              <a:ext uri="{FF2B5EF4-FFF2-40B4-BE49-F238E27FC236}">
                <a16:creationId xmlns:a16="http://schemas.microsoft.com/office/drawing/2014/main" id="{2A8FAC2E-63AC-44C0-8CFA-F2410AE8E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90862" y="2329934"/>
            <a:ext cx="3657600" cy="738664"/>
          </a:xfrm>
        </p:spPr>
        <p:txBody>
          <a:bodyPr vert="horz" anchor="b" anchorCtr="0"/>
          <a:lstStyle>
            <a:lvl1pPr algn="r"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Headline with max.  </a:t>
            </a:r>
            <a:br>
              <a:rPr lang="en-US" dirty="0"/>
            </a:br>
            <a:r>
              <a:rPr lang="en-US" dirty="0"/>
              <a:t>three rows; </a:t>
            </a:r>
          </a:p>
        </p:txBody>
      </p:sp>
      <p:sp>
        <p:nvSpPr>
          <p:cNvPr id="42" name="Subheadline">
            <a:extLst>
              <a:ext uri="{FF2B5EF4-FFF2-40B4-BE49-F238E27FC236}">
                <a16:creationId xmlns:a16="http://schemas.microsoft.com/office/drawing/2014/main" id="{A938F485-C10B-41D5-AA2F-CB14816476E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90862" y="3200400"/>
            <a:ext cx="3657600" cy="200055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accent1"/>
                </a:solidFill>
                <a:latin typeface="+mn-lt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;</a:t>
            </a:r>
          </a:p>
        </p:txBody>
      </p:sp>
      <p:sp>
        <p:nvSpPr>
          <p:cNvPr id="32" name="Subheadline">
            <a:extLst>
              <a:ext uri="{FF2B5EF4-FFF2-40B4-BE49-F238E27FC236}">
                <a16:creationId xmlns:a16="http://schemas.microsoft.com/office/drawing/2014/main" id="{A342A790-06F8-43CF-BF6E-1A328A88B0FB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5090862" y="3711073"/>
            <a:ext cx="3657600" cy="153888"/>
          </a:xfrm>
        </p:spPr>
        <p:txBody>
          <a:bodyPr vert="horz" wrap="square" lIns="0" tIns="0" rIns="0" bIns="0" rtlCol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lang="en-US" sz="10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Name of speaker  /  Name of event  /  Place  /  Date</a:t>
            </a:r>
          </a:p>
        </p:txBody>
      </p:sp>
    </p:spTree>
    <p:extLst>
      <p:ext uri="{BB962C8B-B14F-4D97-AF65-F5344CB8AC3E}">
        <p14:creationId xmlns:p14="http://schemas.microsoft.com/office/powerpoint/2010/main" val="195570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">
            <a:extLst>
              <a:ext uri="{FF2B5EF4-FFF2-40B4-BE49-F238E27FC236}">
                <a16:creationId xmlns:a16="http://schemas.microsoft.com/office/drawing/2014/main" id="{CECE963B-F46B-487F-A808-E684042D4E04}"/>
              </a:ext>
            </a:extLst>
          </p:cNvPr>
          <p:cNvSpPr/>
          <p:nvPr userDrawn="1"/>
        </p:nvSpPr>
        <p:spPr bwMode="gray">
          <a:xfrm>
            <a:off x="-12007" y="-3455"/>
            <a:ext cx="5890999" cy="5146955"/>
          </a:xfrm>
          <a:custGeom>
            <a:avLst/>
            <a:gdLst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6669157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1789044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77878"/>
              <a:gd name="connsiteX1" fmla="*/ 6669157 w 6669157"/>
              <a:gd name="connsiteY1" fmla="*/ 0 h 6877878"/>
              <a:gd name="connsiteX2" fmla="*/ 1033671 w 6669157"/>
              <a:gd name="connsiteY2" fmla="*/ 6877878 h 6877878"/>
              <a:gd name="connsiteX3" fmla="*/ 0 w 6669157"/>
              <a:gd name="connsiteY3" fmla="*/ 6858000 h 6877878"/>
              <a:gd name="connsiteX4" fmla="*/ 0 w 6669157"/>
              <a:gd name="connsiteY4" fmla="*/ 0 h 6877878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596349 w 6669157"/>
              <a:gd name="connsiteY2" fmla="*/ 6818243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858000 h 6887817"/>
              <a:gd name="connsiteX4" fmla="*/ 0 w 6669157"/>
              <a:gd name="connsiteY4" fmla="*/ 0 h 6887817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624509 h 6887817"/>
              <a:gd name="connsiteX4" fmla="*/ 0 w 6669157"/>
              <a:gd name="connsiteY4" fmla="*/ 0 h 6887817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24510"/>
              <a:gd name="connsiteX1" fmla="*/ 6669157 w 6669157"/>
              <a:gd name="connsiteY1" fmla="*/ 0 h 6624510"/>
              <a:gd name="connsiteX2" fmla="*/ 1112068 w 6669157"/>
              <a:gd name="connsiteY2" fmla="*/ 6610010 h 6624510"/>
              <a:gd name="connsiteX3" fmla="*/ 0 w 6669157"/>
              <a:gd name="connsiteY3" fmla="*/ 6624509 h 6624510"/>
              <a:gd name="connsiteX4" fmla="*/ 0 w 6669157"/>
              <a:gd name="connsiteY4" fmla="*/ 0 h 6624510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03894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10010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10010"/>
              <a:gd name="connsiteX1" fmla="*/ 6669157 w 6669157"/>
              <a:gd name="connsiteY1" fmla="*/ 0 h 6610010"/>
              <a:gd name="connsiteX2" fmla="*/ 1095887 w 6669157"/>
              <a:gd name="connsiteY2" fmla="*/ 6610010 h 6610010"/>
              <a:gd name="connsiteX3" fmla="*/ 0 w 6669157"/>
              <a:gd name="connsiteY3" fmla="*/ 6606161 h 6610010"/>
              <a:gd name="connsiteX4" fmla="*/ 0 w 6669157"/>
              <a:gd name="connsiteY4" fmla="*/ 0 h 6610010"/>
              <a:gd name="connsiteX0" fmla="*/ 2698 w 6671855"/>
              <a:gd name="connsiteY0" fmla="*/ 0 h 6610010"/>
              <a:gd name="connsiteX1" fmla="*/ 6671855 w 6671855"/>
              <a:gd name="connsiteY1" fmla="*/ 0 h 6610010"/>
              <a:gd name="connsiteX2" fmla="*/ 1098585 w 6671855"/>
              <a:gd name="connsiteY2" fmla="*/ 6610010 h 6610010"/>
              <a:gd name="connsiteX3" fmla="*/ 0 w 6671855"/>
              <a:gd name="connsiteY3" fmla="*/ 6609219 h 6610010"/>
              <a:gd name="connsiteX4" fmla="*/ 2698 w 6671855"/>
              <a:gd name="connsiteY4" fmla="*/ 0 h 661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1855" h="6610010">
                <a:moveTo>
                  <a:pt x="2698" y="0"/>
                </a:moveTo>
                <a:lnTo>
                  <a:pt x="6671855" y="0"/>
                </a:lnTo>
                <a:lnTo>
                  <a:pt x="1098585" y="6610010"/>
                </a:lnTo>
                <a:lnTo>
                  <a:pt x="0" y="6609219"/>
                </a:lnTo>
                <a:cubicBezTo>
                  <a:pt x="899" y="4406146"/>
                  <a:pt x="1799" y="2203073"/>
                  <a:pt x="2698" y="0"/>
                </a:cubicBez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674AF793-E2AB-4612-89E8-4C31FFC47140}"/>
              </a:ext>
            </a:extLst>
          </p:cNvPr>
          <p:cNvSpPr>
            <a:spLocks noGrp="1" noChangeAspect="1"/>
          </p:cNvSpPr>
          <p:nvPr>
            <p:ph type="body" sz="quarter" idx="61" hasCustomPrompt="1"/>
          </p:nvPr>
        </p:nvSpPr>
        <p:spPr bwMode="gray">
          <a:xfrm flipH="1">
            <a:off x="276721" y="918520"/>
            <a:ext cx="4052561" cy="4224980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4980">
                <a:moveTo>
                  <a:pt x="0" y="0"/>
                </a:moveTo>
                <a:lnTo>
                  <a:pt x="4052561" y="4224980"/>
                </a:lnTo>
                <a:lnTo>
                  <a:pt x="2078908" y="4223496"/>
                </a:lnTo>
                <a:lnTo>
                  <a:pt x="726" y="20621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>
              <a:defRPr lang="en-US" sz="100" dirty="0">
                <a:noFill/>
                <a:cs typeface="+mn-cs"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  <a:lvl6pPr>
              <a:defRPr sz="100">
                <a:noFill/>
              </a:defRPr>
            </a:lvl6pPr>
            <a:lvl7pPr>
              <a:defRPr sz="100">
                <a:noFill/>
              </a:defRPr>
            </a:lvl7pPr>
            <a:lvl8pPr>
              <a:defRPr sz="100">
                <a:noFill/>
              </a:defRPr>
            </a:lvl8pPr>
            <a:lvl9pPr>
              <a:defRPr sz="100">
                <a:noFill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47A2A97-79A5-4931-AB53-9BD5F788A090}"/>
              </a:ext>
            </a:extLst>
          </p:cNvPr>
          <p:cNvGrpSpPr/>
          <p:nvPr userDrawn="1"/>
        </p:nvGrpSpPr>
        <p:grpSpPr bwMode="gray">
          <a:xfrm>
            <a:off x="2773478" y="1919634"/>
            <a:ext cx="3062269" cy="3223866"/>
            <a:chOff x="2773478" y="1919634"/>
            <a:chExt cx="3062269" cy="3223866"/>
          </a:xfrm>
        </p:grpSpPr>
        <p:cxnSp>
          <p:nvCxnSpPr>
            <p:cNvPr id="60" name="Gerade Verbindung 68">
              <a:extLst>
                <a:ext uri="{FF2B5EF4-FFF2-40B4-BE49-F238E27FC236}">
                  <a16:creationId xmlns:a16="http://schemas.microsoft.com/office/drawing/2014/main" id="{B6C2B3F3-E48E-4A6D-BD81-770D6BA14BEC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2773478" y="1919634"/>
              <a:ext cx="3037037" cy="322386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>
              <a:extLst>
                <a:ext uri="{FF2B5EF4-FFF2-40B4-BE49-F238E27FC236}">
                  <a16:creationId xmlns:a16="http://schemas.microsoft.com/office/drawing/2014/main" id="{1A9CB625-BF18-43FF-953D-FFCDDE5765D4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244627" y="2392982"/>
              <a:ext cx="2591120" cy="275051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>
              <a:extLst>
                <a:ext uri="{FF2B5EF4-FFF2-40B4-BE49-F238E27FC236}">
                  <a16:creationId xmlns:a16="http://schemas.microsoft.com/office/drawing/2014/main" id="{DED923B4-BC9B-4F15-8A3D-9D29BEE7DEAE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725078" y="2914775"/>
              <a:ext cx="2099566" cy="2228725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>
              <a:extLst>
                <a:ext uri="{FF2B5EF4-FFF2-40B4-BE49-F238E27FC236}">
                  <a16:creationId xmlns:a16="http://schemas.microsoft.com/office/drawing/2014/main" id="{996B4938-4AB3-495D-8151-F7CC6B141801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176305" y="3418403"/>
              <a:ext cx="1625125" cy="172509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>
              <a:extLst>
                <a:ext uri="{FF2B5EF4-FFF2-40B4-BE49-F238E27FC236}">
                  <a16:creationId xmlns:a16="http://schemas.microsoft.com/office/drawing/2014/main" id="{B9736B73-17FA-40CD-B797-DEAF9A8B5115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669570" y="3928086"/>
              <a:ext cx="1144980" cy="121541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B6572-6FA5-4DAC-8FF6-84609141A250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 bwMode="gray">
          <a:xfrm>
            <a:off x="749960" y="2187030"/>
            <a:ext cx="2220480" cy="769441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spcAft>
                <a:spcPts val="0"/>
              </a:spcAft>
              <a:defRPr lang="en-US" sz="5000" b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>
              <a:defRPr lang="en-US" sz="1800" dirty="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US" sz="18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1F78F6-EA24-4539-B595-4C52E2FEC06B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5868144" y="1675951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1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4E7AF053-4854-41D8-9BCD-3F2F15ACFA84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 bwMode="gray">
          <a:xfrm>
            <a:off x="5868144" y="217829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2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94529734-BC31-465C-BADA-A0A28202FFC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 bwMode="gray">
          <a:xfrm>
            <a:off x="5868144" y="2680637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3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28B6FEC8-5FE2-4DF8-9D15-B4AAED7DCB17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 bwMode="gray">
          <a:xfrm>
            <a:off x="5868144" y="3182980"/>
            <a:ext cx="216000" cy="184666"/>
          </a:xfrm>
        </p:spPr>
        <p:txBody>
          <a:bodyPr vert="horz" wrap="none" lIns="0" tIns="0" rIns="0" bIns="0" rtlCol="0" anchor="ctr" anchorCtr="0">
            <a:sp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4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A279BA-DA81-4906-ABB6-7AFAD94975DC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 bwMode="gray">
          <a:xfrm>
            <a:off x="5868144" y="368532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DFBF1C-3B39-4639-94CD-4E611BBD96FA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 bwMode="gray">
          <a:xfrm>
            <a:off x="6192180" y="1691340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4F84793B-FD2C-4557-9A3B-B16C3F426815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 bwMode="gray">
          <a:xfrm>
            <a:off x="6192180" y="219368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BE05CD0B-F6B7-4FD1-9AB6-5A6AA155948E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9D96A59-6F3E-4885-A8C7-5A7063C49C46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 bwMode="gray">
          <a:xfrm>
            <a:off x="6192180" y="3198369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DFBC95E3-8F83-482B-8262-B77292E48A9C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 bwMode="gray">
          <a:xfrm>
            <a:off x="6192180" y="370071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</p:spTree>
    <p:extLst>
      <p:ext uri="{BB962C8B-B14F-4D97-AF65-F5344CB8AC3E}">
        <p14:creationId xmlns:p14="http://schemas.microsoft.com/office/powerpoint/2010/main" val="39960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4CE499D-A715-3A41-B7E5-565797AA14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15" name="Headline">
            <a:extLst>
              <a:ext uri="{FF2B5EF4-FFF2-40B4-BE49-F238E27FC236}">
                <a16:creationId xmlns:a16="http://schemas.microsoft.com/office/drawing/2014/main" id="{719B6C09-97A8-964E-875A-723750BAA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7274" y="4006292"/>
            <a:ext cx="3918829" cy="359073"/>
          </a:xfrm>
        </p:spPr>
        <p:txBody>
          <a:bodyPr anchor="b" anchorCtr="0"/>
          <a:lstStyle>
            <a:lvl1pPr algn="r">
              <a:lnSpc>
                <a:spcPts val="28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Actual Topic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1352A507-0E7B-1646-A801-853F8FEA59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143" y="4384415"/>
            <a:ext cx="3108960" cy="276999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800" b="0" i="0">
                <a:solidFill>
                  <a:srgbClr val="EC844A"/>
                </a:solidFill>
                <a:latin typeface="DWS Sans Light" panose="020B0404020101010102" pitchFamily="34" charset="77"/>
                <a:cs typeface="DWS Sans Light" panose="020B0404020101010102" pitchFamily="34" charset="77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r>
              <a:rPr lang="en-US" b="0" dirty="0">
                <a:latin typeface="DWS Sans Light" panose="02010404010101010104" pitchFamily="2" charset="77"/>
                <a:cs typeface="DWS Sans Light" panose="02010404010101010104" pitchFamily="2" charset="77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575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41C261-B0C0-2AED-E2B2-EEFBC881A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62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DD9FB-EEDA-49FC-A461-CD8A6E27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6F8CA-F492-450C-B04C-961FE9ABB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54B05849-6D3F-40BD-AFAA-5C295118D4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540" y="1203597"/>
            <a:ext cx="8280000" cy="938719"/>
          </a:xfrm>
        </p:spPr>
        <p:txBody>
          <a:bodyPr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headline">
            <a:extLst>
              <a:ext uri="{FF2B5EF4-FFF2-40B4-BE49-F238E27FC236}">
                <a16:creationId xmlns:a16="http://schemas.microsoft.com/office/drawing/2014/main" id="{4656E53D-86BE-40B9-9859-C091D562FA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400" b="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D227C3-2FF3-4499-8FA4-AB4C95A92C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4644883"/>
            <a:ext cx="8280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noProof="0" dirty="0"/>
              <a:t>Placeholder: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19070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93A7A4D-BC7F-6C25-63AA-CB523D99B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7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/>
          <a:p>
            <a:r>
              <a:rPr lang="en-US" noProof="0" dirty="0"/>
              <a:t>Click to edit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5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2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4D39F3-569D-0712-6D6B-AB71A4824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2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768" y="594382"/>
            <a:ext cx="6858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rgbClr val="EC844A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dirty="0">
                <a:cs typeface="Calibri" panose="020F0502020204030204" pitchFamily="34" charset="0"/>
              </a:rPr>
              <a:t> </a:t>
            </a:r>
            <a:fld id="{D75DB306-785C-428C-BF8B-7267F4168A84}" type="slidenum">
              <a:rPr lang="en-US" smtClean="0">
                <a:cs typeface="Calibri" panose="020F0502020204030204" pitchFamily="34" charset="0"/>
              </a:rPr>
              <a:pPr/>
              <a:t>‹Nr.›</a:t>
            </a:fld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68" y="313681"/>
            <a:ext cx="68580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354E0F7-B3FC-4E46-839B-EC40E6F710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768" y="4661614"/>
            <a:ext cx="8284464" cy="12311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spcAft>
                <a:spcPts val="0"/>
              </a:spcAft>
              <a:defRPr lang="en-US" sz="800" b="0" noProof="0" dirty="0">
                <a:solidFill>
                  <a:srgbClr val="939494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Placeholder: Source/Footnote; Calibri 8pt.</a:t>
            </a:r>
          </a:p>
        </p:txBody>
      </p:sp>
    </p:spTree>
    <p:extLst>
      <p:ext uri="{BB962C8B-B14F-4D97-AF65-F5344CB8AC3E}">
        <p14:creationId xmlns:p14="http://schemas.microsoft.com/office/powerpoint/2010/main" val="11730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C4F028-36E2-518C-CAED-569339BF4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95076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31540" y="1203597"/>
            <a:ext cx="8280000" cy="938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 bwMode="gray">
          <a:xfrm>
            <a:off x="431540" y="313681"/>
            <a:ext cx="70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edit head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B1EF83-9A97-4E70-95F5-25E0A96894C4}"/>
              </a:ext>
            </a:extLst>
          </p:cNvPr>
          <p:cNvCxnSpPr/>
          <p:nvPr userDrawn="1"/>
        </p:nvCxnSpPr>
        <p:spPr bwMode="gray">
          <a:xfrm>
            <a:off x="431540" y="4814085"/>
            <a:ext cx="8280000" cy="0"/>
          </a:xfrm>
          <a:prstGeom prst="line">
            <a:avLst/>
          </a:prstGeom>
          <a:ln w="3175">
            <a:solidFill>
              <a:srgbClr val="C7C7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age number">
            <a:extLst>
              <a:ext uri="{FF2B5EF4-FFF2-40B4-BE49-F238E27FC236}">
                <a16:creationId xmlns:a16="http://schemas.microsoft.com/office/drawing/2014/main" id="{1FDEBD9B-307A-4E68-96C1-803A02A01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388424" y="4860907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800">
                <a:solidFill>
                  <a:srgbClr val="939494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95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674" r:id="rId2"/>
    <p:sldLayoutId id="2147483934" r:id="rId3"/>
    <p:sldLayoutId id="2147483873" r:id="rId4"/>
    <p:sldLayoutId id="2147483666" r:id="rId5"/>
    <p:sldLayoutId id="2147483667" r:id="rId6"/>
    <p:sldLayoutId id="21474839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spcBef>
          <a:spcPct val="0"/>
        </a:spcBef>
        <a:buNone/>
        <a:defRPr sz="1800" kern="1200" cap="none" baseline="0">
          <a:solidFill>
            <a:srgbClr val="000000"/>
          </a:solidFill>
          <a:latin typeface="DWS Slab" panose="02010504010101010104" pitchFamily="50" charset="0"/>
          <a:ea typeface="+mj-ea"/>
          <a:cs typeface="DWS Slab" panose="02010504010101010104" pitchFamily="50" charset="0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itchFamily="34" charset="0"/>
        <a:buNone/>
        <a:defRPr sz="1100" b="1" kern="1200" cap="none" baseline="0">
          <a:solidFill>
            <a:srgbClr val="000000"/>
          </a:solidFill>
          <a:latin typeface="+mj-lt"/>
          <a:ea typeface="+mn-ea"/>
          <a:cs typeface="DWS Sans" panose="02010504010101010104" pitchFamily="50" charset="0"/>
        </a:defRPr>
      </a:lvl1pPr>
      <a:lvl2pPr marL="0" marR="0" indent="0" algn="l" defTabSz="68576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000" kern="1200">
          <a:solidFill>
            <a:srgbClr val="000000"/>
          </a:solidFill>
          <a:latin typeface="+mn-lt"/>
          <a:ea typeface="+mn-ea"/>
          <a:cs typeface="DWS Sans Light" panose="02010404010101010104" pitchFamily="50" charset="0"/>
        </a:defRPr>
      </a:lvl2pPr>
      <a:lvl3pPr marL="13716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3pPr>
      <a:lvl4pPr marL="27432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4pPr>
      <a:lvl5pPr marL="41148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5pPr>
      <a:lvl6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488" userDrawn="1">
          <p15:clr>
            <a:srgbClr val="C35EA4"/>
          </p15:clr>
        </p15:guide>
        <p15:guide id="9" pos="272" userDrawn="1">
          <p15:clr>
            <a:srgbClr val="C35EA4"/>
          </p15:clr>
        </p15:guide>
        <p15:guide id="11" pos="2948" userDrawn="1">
          <p15:clr>
            <a:srgbClr val="C35EA4"/>
          </p15:clr>
        </p15:guide>
        <p15:guide id="12" pos="2812" userDrawn="1">
          <p15:clr>
            <a:srgbClr val="C35EA4"/>
          </p15:clr>
        </p15:guide>
        <p15:guide id="13" orient="horz" pos="758" userDrawn="1">
          <p15:clr>
            <a:srgbClr val="C35EA4"/>
          </p15:clr>
        </p15:guide>
        <p15:guide id="14" orient="horz" pos="3003" userDrawn="1">
          <p15:clr>
            <a:srgbClr val="C35EA4"/>
          </p15:clr>
        </p15:guide>
        <p15:guide id="18" orient="horz" pos="2777" userDrawn="1">
          <p15:clr>
            <a:srgbClr val="C35EA4"/>
          </p15:clr>
        </p15:guide>
        <p15:guide id="20" pos="1905" userDrawn="1">
          <p15:clr>
            <a:srgbClr val="A4A3A4"/>
          </p15:clr>
        </p15:guide>
        <p15:guide id="21" pos="2064" userDrawn="1">
          <p15:clr>
            <a:srgbClr val="A4A3A4"/>
          </p15:clr>
        </p15:guide>
        <p15:guide id="22" pos="3696" userDrawn="1">
          <p15:clr>
            <a:srgbClr val="A4A3A4"/>
          </p15:clr>
        </p15:guide>
        <p15:guide id="23" pos="385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5F8F9B0-099B-246C-41E8-FF58D2BE4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0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E24C774-5E7A-4BCC-BDDD-E196F921F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862" y="2699266"/>
            <a:ext cx="3657600" cy="369332"/>
          </a:xfrm>
        </p:spPr>
        <p:txBody>
          <a:bodyPr vert="horz"/>
          <a:lstStyle/>
          <a:p>
            <a:r>
              <a:rPr lang="en-US" dirty="0"/>
              <a:t>Lorem ips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6317DC-7803-487D-BB7B-12089E0FDD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DB2520-E765-D6CA-DF25-FC459FC05F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Speaker</a:t>
            </a:r>
          </a:p>
        </p:txBody>
      </p:sp>
    </p:spTree>
    <p:extLst>
      <p:ext uri="{BB962C8B-B14F-4D97-AF65-F5344CB8AC3E}">
        <p14:creationId xmlns:p14="http://schemas.microsoft.com/office/powerpoint/2010/main" val="269904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9218FC4-6F83-46A7-65D7-EDF1F0623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feld 21">
            <a:extLst>
              <a:ext uri="{FF2B5EF4-FFF2-40B4-BE49-F238E27FC236}">
                <a16:creationId xmlns:a16="http://schemas.microsoft.com/office/drawing/2014/main" id="{56C60BDF-09F5-DCCE-4E4B-9238DA6309C1}"/>
              </a:ext>
            </a:extLst>
          </p:cNvPr>
          <p:cNvSpPr txBox="1"/>
          <p:nvPr/>
        </p:nvSpPr>
        <p:spPr>
          <a:xfrm>
            <a:off x="270483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7%</a:t>
            </a:r>
          </a:p>
        </p:txBody>
      </p:sp>
      <p:sp>
        <p:nvSpPr>
          <p:cNvPr id="5" name="Rechteck: abgerundete Ecken 23">
            <a:extLst>
              <a:ext uri="{FF2B5EF4-FFF2-40B4-BE49-F238E27FC236}">
                <a16:creationId xmlns:a16="http://schemas.microsoft.com/office/drawing/2014/main" id="{76217CB9-DED4-36CF-5254-AC504EAF2016}"/>
              </a:ext>
            </a:extLst>
          </p:cNvPr>
          <p:cNvSpPr/>
          <p:nvPr/>
        </p:nvSpPr>
        <p:spPr>
          <a:xfrm>
            <a:off x="3832099" y="3810640"/>
            <a:ext cx="3475141" cy="33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bg1"/>
              </a:buClr>
            </a:pP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Distribution of wealth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by</a:t>
            </a: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age</a:t>
            </a:r>
            <a:b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</a:b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s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rket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, 100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responder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endParaRPr lang="de-DE" dirty="0">
              <a:solidFill>
                <a:schemeClr val="tx1"/>
              </a:solidFill>
              <a:latin typeface="DWS Sans Light" panose="020B0404020101010102" pitchFamily="34" charset="0"/>
              <a:cs typeface="DWS Sans Light" panose="020B0404020101010102" pitchFamily="34" charset="0"/>
            </a:endParaRPr>
          </a:p>
        </p:txBody>
      </p:sp>
      <p:cxnSp>
        <p:nvCxnSpPr>
          <p:cNvPr id="8" name="Straight Connector 95">
            <a:extLst>
              <a:ext uri="{FF2B5EF4-FFF2-40B4-BE49-F238E27FC236}">
                <a16:creationId xmlns:a16="http://schemas.microsoft.com/office/drawing/2014/main" id="{330B589B-0C3D-5570-556F-73D54B4ED0B0}"/>
              </a:ext>
            </a:extLst>
          </p:cNvPr>
          <p:cNvCxnSpPr>
            <a:cxnSpLocks/>
          </p:cNvCxnSpPr>
          <p:nvPr/>
        </p:nvCxnSpPr>
        <p:spPr>
          <a:xfrm>
            <a:off x="2498272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96">
            <a:extLst>
              <a:ext uri="{FF2B5EF4-FFF2-40B4-BE49-F238E27FC236}">
                <a16:creationId xmlns:a16="http://schemas.microsoft.com/office/drawing/2014/main" id="{498A66E6-85DD-974F-8B6C-3E7881967A61}"/>
              </a:ext>
            </a:extLst>
          </p:cNvPr>
          <p:cNvCxnSpPr>
            <a:cxnSpLocks/>
          </p:cNvCxnSpPr>
          <p:nvPr/>
        </p:nvCxnSpPr>
        <p:spPr>
          <a:xfrm>
            <a:off x="7220534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1">
            <a:extLst>
              <a:ext uri="{FF2B5EF4-FFF2-40B4-BE49-F238E27FC236}">
                <a16:creationId xmlns:a16="http://schemas.microsoft.com/office/drawing/2014/main" id="{9EA825B9-ADE4-33B0-068A-76683E31B72F}"/>
              </a:ext>
            </a:extLst>
          </p:cNvPr>
          <p:cNvSpPr txBox="1"/>
          <p:nvPr/>
        </p:nvSpPr>
        <p:spPr>
          <a:xfrm>
            <a:off x="429349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0%</a:t>
            </a:r>
          </a:p>
        </p:txBody>
      </p:sp>
      <p:sp>
        <p:nvSpPr>
          <p:cNvPr id="14" name="Textfeld 21">
            <a:extLst>
              <a:ext uri="{FF2B5EF4-FFF2-40B4-BE49-F238E27FC236}">
                <a16:creationId xmlns:a16="http://schemas.microsoft.com/office/drawing/2014/main" id="{4528F9A1-30F4-7AF7-D836-5E0070C08E8A}"/>
              </a:ext>
            </a:extLst>
          </p:cNvPr>
          <p:cNvSpPr txBox="1"/>
          <p:nvPr/>
        </p:nvSpPr>
        <p:spPr>
          <a:xfrm>
            <a:off x="589214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20%</a:t>
            </a:r>
          </a:p>
        </p:txBody>
      </p:sp>
      <p:sp>
        <p:nvSpPr>
          <p:cNvPr id="16" name="Textfeld 21">
            <a:extLst>
              <a:ext uri="{FF2B5EF4-FFF2-40B4-BE49-F238E27FC236}">
                <a16:creationId xmlns:a16="http://schemas.microsoft.com/office/drawing/2014/main" id="{6824530A-6C0A-2201-3FD5-CC49D7A059B7}"/>
              </a:ext>
            </a:extLst>
          </p:cNvPr>
          <p:cNvSpPr txBox="1"/>
          <p:nvPr/>
        </p:nvSpPr>
        <p:spPr>
          <a:xfrm>
            <a:off x="748080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13%</a:t>
            </a:r>
          </a:p>
        </p:txBody>
      </p:sp>
      <p:sp>
        <p:nvSpPr>
          <p:cNvPr id="27" name="Block Arc 59">
            <a:extLst>
              <a:ext uri="{FF2B5EF4-FFF2-40B4-BE49-F238E27FC236}">
                <a16:creationId xmlns:a16="http://schemas.microsoft.com/office/drawing/2014/main" id="{3C55EB8F-9157-6FDF-F16A-6912938977F1}"/>
              </a:ext>
            </a:extLst>
          </p:cNvPr>
          <p:cNvSpPr/>
          <p:nvPr/>
        </p:nvSpPr>
        <p:spPr>
          <a:xfrm rot="3600000">
            <a:off x="7288974" y="2123172"/>
            <a:ext cx="1347095" cy="1356552"/>
          </a:xfrm>
          <a:prstGeom prst="blockArc">
            <a:avLst>
              <a:gd name="adj1" fmla="val 12582899"/>
              <a:gd name="adj2" fmla="val 14950635"/>
              <a:gd name="adj3" fmla="val 13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28" name="Block Arc 60">
            <a:extLst>
              <a:ext uri="{FF2B5EF4-FFF2-40B4-BE49-F238E27FC236}">
                <a16:creationId xmlns:a16="http://schemas.microsoft.com/office/drawing/2014/main" id="{C9820E60-1905-ACF2-C3C5-B21F6FE5E197}"/>
              </a:ext>
            </a:extLst>
          </p:cNvPr>
          <p:cNvSpPr/>
          <p:nvPr/>
        </p:nvSpPr>
        <p:spPr>
          <a:xfrm rot="3600000">
            <a:off x="5698409" y="2123173"/>
            <a:ext cx="1347095" cy="1356552"/>
          </a:xfrm>
          <a:prstGeom prst="blockArc">
            <a:avLst>
              <a:gd name="adj1" fmla="val 12582899"/>
              <a:gd name="adj2" fmla="val 16776549"/>
              <a:gd name="adj3" fmla="val 1396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1" name="Block Arc 62">
            <a:extLst>
              <a:ext uri="{FF2B5EF4-FFF2-40B4-BE49-F238E27FC236}">
                <a16:creationId xmlns:a16="http://schemas.microsoft.com/office/drawing/2014/main" id="{48FEC524-8F94-CDFF-DBD0-0BC51B3D9F46}"/>
              </a:ext>
            </a:extLst>
          </p:cNvPr>
          <p:cNvSpPr/>
          <p:nvPr/>
        </p:nvSpPr>
        <p:spPr>
          <a:xfrm rot="3600000">
            <a:off x="4109695" y="2125555"/>
            <a:ext cx="1347095" cy="1356552"/>
          </a:xfrm>
          <a:prstGeom prst="blockArc">
            <a:avLst>
              <a:gd name="adj1" fmla="val 12582899"/>
              <a:gd name="adj2" fmla="val 19105044"/>
              <a:gd name="adj3" fmla="val 139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2" name="Block Arc 70">
            <a:extLst>
              <a:ext uri="{FF2B5EF4-FFF2-40B4-BE49-F238E27FC236}">
                <a16:creationId xmlns:a16="http://schemas.microsoft.com/office/drawing/2014/main" id="{7BC2F844-AECA-FFA4-0176-7588454EAFF7}"/>
              </a:ext>
            </a:extLst>
          </p:cNvPr>
          <p:cNvSpPr/>
          <p:nvPr/>
        </p:nvSpPr>
        <p:spPr>
          <a:xfrm rot="3600000">
            <a:off x="2518773" y="2124865"/>
            <a:ext cx="1349236" cy="1358708"/>
          </a:xfrm>
          <a:prstGeom prst="blockArc">
            <a:avLst>
              <a:gd name="adj1" fmla="val 12582899"/>
              <a:gd name="adj2" fmla="val 20768449"/>
              <a:gd name="adj3" fmla="val 1420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7883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0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44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3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58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6" grpId="1"/>
      <p:bldP spid="15" grpId="0"/>
      <p:bldP spid="15" grpId="1"/>
      <p:bldP spid="65" grpId="0"/>
      <p:bldP spid="65" grpId="1"/>
      <p:bldP spid="73" grpId="0"/>
      <p:bldP spid="73" grpId="1"/>
      <p:bldP spid="3" grpId="0"/>
      <p:bldP spid="5" grpId="0"/>
      <p:bldP spid="12" grpId="0"/>
      <p:bldP spid="14" grpId="0"/>
      <p:bldP spid="16" grpId="0"/>
      <p:bldP spid="27" grpId="0" animBg="1"/>
      <p:bldP spid="28" grpId="0" animBg="1"/>
      <p:bldP spid="3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90E6349-7824-577C-A465-A00BC4C56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8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4006292"/>
            <a:ext cx="3918829" cy="359073"/>
          </a:xfrm>
        </p:spPr>
        <p:txBody>
          <a:bodyPr vert="horz"/>
          <a:lstStyle/>
          <a:p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vitae, </a:t>
            </a:r>
            <a:r>
              <a:rPr lang="en-US" dirty="0" err="1"/>
              <a:t>eleif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c, </a:t>
            </a:r>
            <a:r>
              <a:rPr lang="en-US" dirty="0" err="1"/>
              <a:t>enim</a:t>
            </a:r>
            <a:endParaRPr lang="en-US" dirty="0"/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D8DB98C9-B55D-3A97-1905-E26DAF00ACB5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2407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B1FE3E1-A3B1-7BDA-D945-72E3090D7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03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2">
            <a:extLst>
              <a:ext uri="{FF2B5EF4-FFF2-40B4-BE49-F238E27FC236}">
                <a16:creationId xmlns:a16="http://schemas.microsoft.com/office/drawing/2014/main" id="{7693D479-5105-5CBC-1839-08D385B47D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4332">
            <a:off x="2175270" y="-243078"/>
            <a:ext cx="7315856" cy="53880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1C715CC-D40F-42F7-B9E1-4B34BC977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595523C-A1EE-40FB-A109-F93BCB896F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560E81-6DF9-4EB7-9B1F-91D426C6E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0967364-EC82-8FCE-5FF6-E31C70CB591F}"/>
              </a:ext>
            </a:extLst>
          </p:cNvPr>
          <p:cNvGrpSpPr/>
          <p:nvPr/>
        </p:nvGrpSpPr>
        <p:grpSpPr>
          <a:xfrm>
            <a:off x="436796" y="3223580"/>
            <a:ext cx="4027254" cy="519540"/>
            <a:chOff x="436796" y="2561236"/>
            <a:chExt cx="4027254" cy="519540"/>
          </a:xfrm>
        </p:grpSpPr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B75BE775-DB43-8398-168A-6C2963645A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1" name="Freeform: Shape 13">
              <a:extLst>
                <a:ext uri="{FF2B5EF4-FFF2-40B4-BE49-F238E27FC236}">
                  <a16:creationId xmlns:a16="http://schemas.microsoft.com/office/drawing/2014/main" id="{FA3DB115-650A-5327-9601-26493EABF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4" name="Textplatzhalter 4">
              <a:extLst>
                <a:ext uri="{FF2B5EF4-FFF2-40B4-BE49-F238E27FC236}">
                  <a16:creationId xmlns:a16="http://schemas.microsoft.com/office/drawing/2014/main" id="{33ACC406-DC21-D6FC-F8D6-5F2E0AF75F6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39" y="2728673"/>
              <a:ext cx="31261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Quis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rutrum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Aenean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imperdiet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17" name="Group 32">
              <a:extLst>
                <a:ext uri="{FF2B5EF4-FFF2-40B4-BE49-F238E27FC236}">
                  <a16:creationId xmlns:a16="http://schemas.microsoft.com/office/drawing/2014/main" id="{3C8CF879-51D3-5BD7-9E2C-26DA02754B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8034" y="2628518"/>
              <a:ext cx="188540" cy="207231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118" name="Freeform 33">
                <a:extLst>
                  <a:ext uri="{FF2B5EF4-FFF2-40B4-BE49-F238E27FC236}">
                    <a16:creationId xmlns:a16="http://schemas.microsoft.com/office/drawing/2014/main" id="{5D25FAFC-65E5-4ED6-8E22-0AC2B5838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34">
                <a:extLst>
                  <a:ext uri="{FF2B5EF4-FFF2-40B4-BE49-F238E27FC236}">
                    <a16:creationId xmlns:a16="http://schemas.microsoft.com/office/drawing/2014/main" id="{21DB0A89-29B9-9268-33ED-CDF4724E7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35">
                <a:extLst>
                  <a:ext uri="{FF2B5EF4-FFF2-40B4-BE49-F238E27FC236}">
                    <a16:creationId xmlns:a16="http://schemas.microsoft.com/office/drawing/2014/main" id="{9B5712FF-E992-FA72-DE27-54A2BFD57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D8139038-1CF3-02AC-BD21-2727E291E6F5}"/>
              </a:ext>
            </a:extLst>
          </p:cNvPr>
          <p:cNvGrpSpPr/>
          <p:nvPr/>
        </p:nvGrpSpPr>
        <p:grpSpPr>
          <a:xfrm>
            <a:off x="436796" y="3887435"/>
            <a:ext cx="4027254" cy="519540"/>
            <a:chOff x="436796" y="3225091"/>
            <a:chExt cx="4027254" cy="519540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E0D7C934-E80D-624A-3267-77A8E905A7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51EF9D47-2C05-9937-9CF4-1F19817159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5" name="Textplatzhalter 4">
              <a:extLst>
                <a:ext uri="{FF2B5EF4-FFF2-40B4-BE49-F238E27FC236}">
                  <a16:creationId xmlns:a16="http://schemas.microsoft.com/office/drawing/2014/main" id="{461105E9-1D14-E49F-7CD4-A77F9874C71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30019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Nam eget dui.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Etiam rhoncus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Maecenas tempu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1" name="Group 4">
              <a:extLst>
                <a:ext uri="{FF2B5EF4-FFF2-40B4-BE49-F238E27FC236}">
                  <a16:creationId xmlns:a16="http://schemas.microsoft.com/office/drawing/2014/main" id="{56822785-AF80-C053-C6C2-CD6C089C5D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6320" y="3283726"/>
              <a:ext cx="191968" cy="205735"/>
              <a:chOff x="496" y="826"/>
              <a:chExt cx="237" cy="254"/>
            </a:xfrm>
            <a:solidFill>
              <a:schemeClr val="bg1"/>
            </a:solidFill>
          </p:grpSpPr>
          <p:sp>
            <p:nvSpPr>
              <p:cNvPr id="122" name="Freeform 5">
                <a:extLst>
                  <a:ext uri="{FF2B5EF4-FFF2-40B4-BE49-F238E27FC236}">
                    <a16:creationId xmlns:a16="http://schemas.microsoft.com/office/drawing/2014/main" id="{04296D65-1464-7761-B11E-DAD5449C9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" y="826"/>
                <a:ext cx="237" cy="254"/>
              </a:xfrm>
              <a:custGeom>
                <a:avLst/>
                <a:gdLst>
                  <a:gd name="T0" fmla="*/ 99 w 480"/>
                  <a:gd name="T1" fmla="*/ 137 h 515"/>
                  <a:gd name="T2" fmla="*/ 350 w 480"/>
                  <a:gd name="T3" fmla="*/ 107 h 515"/>
                  <a:gd name="T4" fmla="*/ 355 w 480"/>
                  <a:gd name="T5" fmla="*/ 409 h 515"/>
                  <a:gd name="T6" fmla="*/ 464 w 480"/>
                  <a:gd name="T7" fmla="*/ 208 h 515"/>
                  <a:gd name="T8" fmla="*/ 416 w 480"/>
                  <a:gd name="T9" fmla="*/ 176 h 515"/>
                  <a:gd name="T10" fmla="*/ 480 w 480"/>
                  <a:gd name="T11" fmla="*/ 125 h 515"/>
                  <a:gd name="T12" fmla="*/ 416 w 480"/>
                  <a:gd name="T13" fmla="*/ 91 h 515"/>
                  <a:gd name="T14" fmla="*/ 378 w 480"/>
                  <a:gd name="T15" fmla="*/ 68 h 515"/>
                  <a:gd name="T16" fmla="*/ 348 w 480"/>
                  <a:gd name="T17" fmla="*/ 15 h 515"/>
                  <a:gd name="T18" fmla="*/ 348 w 480"/>
                  <a:gd name="T19" fmla="*/ 68 h 515"/>
                  <a:gd name="T20" fmla="*/ 302 w 480"/>
                  <a:gd name="T21" fmla="*/ 1 h 515"/>
                  <a:gd name="T22" fmla="*/ 286 w 480"/>
                  <a:gd name="T23" fmla="*/ 68 h 515"/>
                  <a:gd name="T24" fmla="*/ 255 w 480"/>
                  <a:gd name="T25" fmla="*/ 68 h 515"/>
                  <a:gd name="T26" fmla="*/ 225 w 480"/>
                  <a:gd name="T27" fmla="*/ 15 h 515"/>
                  <a:gd name="T28" fmla="*/ 193 w 480"/>
                  <a:gd name="T29" fmla="*/ 68 h 515"/>
                  <a:gd name="T30" fmla="*/ 179 w 480"/>
                  <a:gd name="T31" fmla="*/ 1 h 515"/>
                  <a:gd name="T32" fmla="*/ 163 w 480"/>
                  <a:gd name="T33" fmla="*/ 68 h 515"/>
                  <a:gd name="T34" fmla="*/ 132 w 480"/>
                  <a:gd name="T35" fmla="*/ 17 h 515"/>
                  <a:gd name="T36" fmla="*/ 102 w 480"/>
                  <a:gd name="T37" fmla="*/ 17 h 515"/>
                  <a:gd name="T38" fmla="*/ 85 w 480"/>
                  <a:gd name="T39" fmla="*/ 68 h 515"/>
                  <a:gd name="T40" fmla="*/ 64 w 480"/>
                  <a:gd name="T41" fmla="*/ 109 h 515"/>
                  <a:gd name="T42" fmla="*/ 16 w 480"/>
                  <a:gd name="T43" fmla="*/ 141 h 515"/>
                  <a:gd name="T44" fmla="*/ 16 w 480"/>
                  <a:gd name="T45" fmla="*/ 176 h 515"/>
                  <a:gd name="T46" fmla="*/ 64 w 480"/>
                  <a:gd name="T47" fmla="*/ 208 h 515"/>
                  <a:gd name="T48" fmla="*/ 0 w 480"/>
                  <a:gd name="T49" fmla="*/ 257 h 515"/>
                  <a:gd name="T50" fmla="*/ 64 w 480"/>
                  <a:gd name="T51" fmla="*/ 308 h 515"/>
                  <a:gd name="T52" fmla="*/ 16 w 480"/>
                  <a:gd name="T53" fmla="*/ 340 h 515"/>
                  <a:gd name="T54" fmla="*/ 16 w 480"/>
                  <a:gd name="T55" fmla="*/ 374 h 515"/>
                  <a:gd name="T56" fmla="*/ 64 w 480"/>
                  <a:gd name="T57" fmla="*/ 406 h 515"/>
                  <a:gd name="T58" fmla="*/ 102 w 480"/>
                  <a:gd name="T59" fmla="*/ 446 h 515"/>
                  <a:gd name="T60" fmla="*/ 116 w 480"/>
                  <a:gd name="T61" fmla="*/ 514 h 515"/>
                  <a:gd name="T62" fmla="*/ 132 w 480"/>
                  <a:gd name="T63" fmla="*/ 447 h 515"/>
                  <a:gd name="T64" fmla="*/ 163 w 480"/>
                  <a:gd name="T65" fmla="*/ 498 h 515"/>
                  <a:gd name="T66" fmla="*/ 193 w 480"/>
                  <a:gd name="T67" fmla="*/ 498 h 515"/>
                  <a:gd name="T68" fmla="*/ 225 w 480"/>
                  <a:gd name="T69" fmla="*/ 447 h 515"/>
                  <a:gd name="T70" fmla="*/ 255 w 480"/>
                  <a:gd name="T71" fmla="*/ 500 h 515"/>
                  <a:gd name="T72" fmla="*/ 255 w 480"/>
                  <a:gd name="T73" fmla="*/ 447 h 515"/>
                  <a:gd name="T74" fmla="*/ 286 w 480"/>
                  <a:gd name="T75" fmla="*/ 498 h 515"/>
                  <a:gd name="T76" fmla="*/ 316 w 480"/>
                  <a:gd name="T77" fmla="*/ 498 h 515"/>
                  <a:gd name="T78" fmla="*/ 348 w 480"/>
                  <a:gd name="T79" fmla="*/ 447 h 515"/>
                  <a:gd name="T80" fmla="*/ 378 w 480"/>
                  <a:gd name="T81" fmla="*/ 499 h 515"/>
                  <a:gd name="T82" fmla="*/ 378 w 480"/>
                  <a:gd name="T83" fmla="*/ 447 h 515"/>
                  <a:gd name="T84" fmla="*/ 416 w 480"/>
                  <a:gd name="T85" fmla="*/ 406 h 515"/>
                  <a:gd name="T86" fmla="*/ 464 w 480"/>
                  <a:gd name="T87" fmla="*/ 374 h 515"/>
                  <a:gd name="T88" fmla="*/ 464 w 480"/>
                  <a:gd name="T89" fmla="*/ 340 h 515"/>
                  <a:gd name="T90" fmla="*/ 416 w 480"/>
                  <a:gd name="T91" fmla="*/ 308 h 515"/>
                  <a:gd name="T92" fmla="*/ 480 w 480"/>
                  <a:gd name="T93" fmla="*/ 258 h 515"/>
                  <a:gd name="T94" fmla="*/ 416 w 480"/>
                  <a:gd name="T95" fmla="*/ 208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0" h="515">
                    <a:moveTo>
                      <a:pt x="123" y="409"/>
                    </a:moveTo>
                    <a:cubicBezTo>
                      <a:pt x="111" y="408"/>
                      <a:pt x="101" y="399"/>
                      <a:pt x="99" y="387"/>
                    </a:cubicBezTo>
                    <a:cubicBezTo>
                      <a:pt x="99" y="137"/>
                      <a:pt x="99" y="137"/>
                      <a:pt x="99" y="137"/>
                    </a:cubicBezTo>
                    <a:cubicBezTo>
                      <a:pt x="99" y="105"/>
                      <a:pt x="127" y="106"/>
                      <a:pt x="127" y="106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8" y="107"/>
                      <a:pt x="350" y="107"/>
                    </a:cubicBezTo>
                    <a:cubicBezTo>
                      <a:pt x="375" y="107"/>
                      <a:pt x="380" y="125"/>
                      <a:pt x="381" y="132"/>
                    </a:cubicBezTo>
                    <a:cubicBezTo>
                      <a:pt x="381" y="381"/>
                      <a:pt x="381" y="381"/>
                      <a:pt x="381" y="381"/>
                    </a:cubicBezTo>
                    <a:cubicBezTo>
                      <a:pt x="379" y="404"/>
                      <a:pt x="362" y="408"/>
                      <a:pt x="355" y="409"/>
                    </a:cubicBezTo>
                    <a:lnTo>
                      <a:pt x="123" y="409"/>
                    </a:lnTo>
                    <a:close/>
                    <a:moveTo>
                      <a:pt x="416" y="208"/>
                    </a:moveTo>
                    <a:cubicBezTo>
                      <a:pt x="464" y="208"/>
                      <a:pt x="464" y="208"/>
                      <a:pt x="464" y="208"/>
                    </a:cubicBezTo>
                    <a:cubicBezTo>
                      <a:pt x="472" y="208"/>
                      <a:pt x="480" y="200"/>
                      <a:pt x="480" y="192"/>
                    </a:cubicBezTo>
                    <a:cubicBezTo>
                      <a:pt x="480" y="183"/>
                      <a:pt x="472" y="176"/>
                      <a:pt x="464" y="176"/>
                    </a:cubicBezTo>
                    <a:cubicBezTo>
                      <a:pt x="416" y="176"/>
                      <a:pt x="416" y="176"/>
                      <a:pt x="416" y="176"/>
                    </a:cubicBezTo>
                    <a:cubicBezTo>
                      <a:pt x="416" y="141"/>
                      <a:pt x="416" y="141"/>
                      <a:pt x="416" y="141"/>
                    </a:cubicBezTo>
                    <a:cubicBezTo>
                      <a:pt x="464" y="141"/>
                      <a:pt x="464" y="141"/>
                      <a:pt x="464" y="141"/>
                    </a:cubicBezTo>
                    <a:cubicBezTo>
                      <a:pt x="472" y="141"/>
                      <a:pt x="480" y="134"/>
                      <a:pt x="480" y="125"/>
                    </a:cubicBezTo>
                    <a:cubicBezTo>
                      <a:pt x="480" y="117"/>
                      <a:pt x="472" y="109"/>
                      <a:pt x="464" y="109"/>
                    </a:cubicBezTo>
                    <a:cubicBezTo>
                      <a:pt x="416" y="109"/>
                      <a:pt x="416" y="109"/>
                      <a:pt x="416" y="109"/>
                    </a:cubicBezTo>
                    <a:cubicBezTo>
                      <a:pt x="416" y="91"/>
                      <a:pt x="416" y="91"/>
                      <a:pt x="416" y="91"/>
                    </a:cubicBezTo>
                    <a:cubicBezTo>
                      <a:pt x="416" y="79"/>
                      <a:pt x="407" y="69"/>
                      <a:pt x="395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17"/>
                      <a:pt x="378" y="17"/>
                      <a:pt x="378" y="17"/>
                    </a:cubicBezTo>
                    <a:cubicBezTo>
                      <a:pt x="378" y="9"/>
                      <a:pt x="372" y="2"/>
                      <a:pt x="363" y="1"/>
                    </a:cubicBezTo>
                    <a:cubicBezTo>
                      <a:pt x="355" y="1"/>
                      <a:pt x="348" y="7"/>
                      <a:pt x="348" y="15"/>
                    </a:cubicBezTo>
                    <a:cubicBezTo>
                      <a:pt x="348" y="16"/>
                      <a:pt x="348" y="16"/>
                      <a:pt x="348" y="17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16" y="68"/>
                      <a:pt x="316" y="68"/>
                      <a:pt x="316" y="68"/>
                    </a:cubicBezTo>
                    <a:cubicBezTo>
                      <a:pt x="316" y="17"/>
                      <a:pt x="316" y="17"/>
                      <a:pt x="316" y="17"/>
                    </a:cubicBezTo>
                    <a:cubicBezTo>
                      <a:pt x="317" y="9"/>
                      <a:pt x="310" y="2"/>
                      <a:pt x="302" y="1"/>
                    </a:cubicBezTo>
                    <a:cubicBezTo>
                      <a:pt x="294" y="0"/>
                      <a:pt x="287" y="7"/>
                      <a:pt x="286" y="15"/>
                    </a:cubicBezTo>
                    <a:cubicBezTo>
                      <a:pt x="286" y="16"/>
                      <a:pt x="286" y="16"/>
                      <a:pt x="286" y="17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55" y="9"/>
                      <a:pt x="249" y="2"/>
                      <a:pt x="241" y="1"/>
                    </a:cubicBezTo>
                    <a:cubicBezTo>
                      <a:pt x="233" y="0"/>
                      <a:pt x="225" y="7"/>
                      <a:pt x="225" y="15"/>
                    </a:cubicBezTo>
                    <a:cubicBezTo>
                      <a:pt x="225" y="16"/>
                      <a:pt x="225" y="16"/>
                      <a:pt x="225" y="17"/>
                    </a:cubicBezTo>
                    <a:cubicBezTo>
                      <a:pt x="225" y="68"/>
                      <a:pt x="225" y="68"/>
                      <a:pt x="225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17"/>
                      <a:pt x="193" y="17"/>
                      <a:pt x="193" y="17"/>
                    </a:cubicBezTo>
                    <a:cubicBezTo>
                      <a:pt x="194" y="9"/>
                      <a:pt x="187" y="2"/>
                      <a:pt x="179" y="1"/>
                    </a:cubicBezTo>
                    <a:cubicBezTo>
                      <a:pt x="171" y="1"/>
                      <a:pt x="164" y="7"/>
                      <a:pt x="163" y="15"/>
                    </a:cubicBezTo>
                    <a:cubicBezTo>
                      <a:pt x="163" y="16"/>
                      <a:pt x="163" y="16"/>
                      <a:pt x="163" y="17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32" y="68"/>
                      <a:pt x="132" y="68"/>
                      <a:pt x="132" y="68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2" y="9"/>
                      <a:pt x="126" y="2"/>
                      <a:pt x="118" y="1"/>
                    </a:cubicBezTo>
                    <a:cubicBezTo>
                      <a:pt x="109" y="0"/>
                      <a:pt x="102" y="7"/>
                      <a:pt x="102" y="15"/>
                    </a:cubicBezTo>
                    <a:cubicBezTo>
                      <a:pt x="102" y="16"/>
                      <a:pt x="102" y="16"/>
                      <a:pt x="102" y="17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3" y="69"/>
                      <a:pt x="63" y="79"/>
                      <a:pt x="64" y="91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7" y="109"/>
                      <a:pt x="0" y="116"/>
                      <a:pt x="0" y="125"/>
                    </a:cubicBezTo>
                    <a:cubicBezTo>
                      <a:pt x="0" y="134"/>
                      <a:pt x="7" y="141"/>
                      <a:pt x="16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16" y="176"/>
                      <a:pt x="16" y="176"/>
                      <a:pt x="16" y="176"/>
                    </a:cubicBezTo>
                    <a:cubicBezTo>
                      <a:pt x="7" y="176"/>
                      <a:pt x="0" y="183"/>
                      <a:pt x="0" y="192"/>
                    </a:cubicBezTo>
                    <a:cubicBezTo>
                      <a:pt x="0" y="200"/>
                      <a:pt x="7" y="208"/>
                      <a:pt x="16" y="208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41"/>
                      <a:pt x="64" y="241"/>
                      <a:pt x="64" y="241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7" y="241"/>
                      <a:pt x="0" y="249"/>
                      <a:pt x="0" y="257"/>
                    </a:cubicBezTo>
                    <a:cubicBezTo>
                      <a:pt x="0" y="266"/>
                      <a:pt x="7" y="273"/>
                      <a:pt x="16" y="273"/>
                    </a:cubicBezTo>
                    <a:cubicBezTo>
                      <a:pt x="64" y="273"/>
                      <a:pt x="64" y="273"/>
                      <a:pt x="64" y="273"/>
                    </a:cubicBezTo>
                    <a:cubicBezTo>
                      <a:pt x="64" y="308"/>
                      <a:pt x="64" y="308"/>
                      <a:pt x="64" y="308"/>
                    </a:cubicBezTo>
                    <a:cubicBezTo>
                      <a:pt x="16" y="308"/>
                      <a:pt x="16" y="308"/>
                      <a:pt x="16" y="308"/>
                    </a:cubicBezTo>
                    <a:cubicBezTo>
                      <a:pt x="7" y="308"/>
                      <a:pt x="0" y="315"/>
                      <a:pt x="0" y="324"/>
                    </a:cubicBezTo>
                    <a:cubicBezTo>
                      <a:pt x="0" y="332"/>
                      <a:pt x="7" y="340"/>
                      <a:pt x="16" y="340"/>
                    </a:cubicBezTo>
                    <a:cubicBezTo>
                      <a:pt x="64" y="340"/>
                      <a:pt x="64" y="340"/>
                      <a:pt x="64" y="340"/>
                    </a:cubicBezTo>
                    <a:cubicBezTo>
                      <a:pt x="64" y="374"/>
                      <a:pt x="64" y="374"/>
                      <a:pt x="64" y="374"/>
                    </a:cubicBezTo>
                    <a:cubicBezTo>
                      <a:pt x="16" y="374"/>
                      <a:pt x="16" y="374"/>
                      <a:pt x="16" y="374"/>
                    </a:cubicBezTo>
                    <a:cubicBezTo>
                      <a:pt x="7" y="374"/>
                      <a:pt x="0" y="381"/>
                      <a:pt x="0" y="390"/>
                    </a:cubicBezTo>
                    <a:cubicBezTo>
                      <a:pt x="0" y="398"/>
                      <a:pt x="7" y="406"/>
                      <a:pt x="16" y="406"/>
                    </a:cubicBezTo>
                    <a:cubicBezTo>
                      <a:pt x="64" y="406"/>
                      <a:pt x="64" y="406"/>
                      <a:pt x="64" y="406"/>
                    </a:cubicBezTo>
                    <a:cubicBezTo>
                      <a:pt x="64" y="424"/>
                      <a:pt x="64" y="424"/>
                      <a:pt x="64" y="424"/>
                    </a:cubicBezTo>
                    <a:cubicBezTo>
                      <a:pt x="63" y="436"/>
                      <a:pt x="73" y="446"/>
                      <a:pt x="85" y="446"/>
                    </a:cubicBezTo>
                    <a:cubicBezTo>
                      <a:pt x="102" y="446"/>
                      <a:pt x="102" y="446"/>
                      <a:pt x="102" y="446"/>
                    </a:cubicBezTo>
                    <a:cubicBezTo>
                      <a:pt x="102" y="446"/>
                      <a:pt x="102" y="446"/>
                      <a:pt x="102" y="447"/>
                    </a:cubicBezTo>
                    <a:cubicBezTo>
                      <a:pt x="102" y="498"/>
                      <a:pt x="102" y="498"/>
                      <a:pt x="102" y="498"/>
                    </a:cubicBezTo>
                    <a:cubicBezTo>
                      <a:pt x="101" y="506"/>
                      <a:pt x="107" y="513"/>
                      <a:pt x="116" y="514"/>
                    </a:cubicBezTo>
                    <a:cubicBezTo>
                      <a:pt x="124" y="515"/>
                      <a:pt x="131" y="508"/>
                      <a:pt x="132" y="500"/>
                    </a:cubicBezTo>
                    <a:cubicBezTo>
                      <a:pt x="132" y="499"/>
                      <a:pt x="132" y="499"/>
                      <a:pt x="132" y="498"/>
                    </a:cubicBezTo>
                    <a:cubicBezTo>
                      <a:pt x="132" y="447"/>
                      <a:pt x="132" y="447"/>
                      <a:pt x="132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98"/>
                      <a:pt x="163" y="498"/>
                      <a:pt x="163" y="498"/>
                    </a:cubicBezTo>
                    <a:cubicBezTo>
                      <a:pt x="163" y="506"/>
                      <a:pt x="169" y="513"/>
                      <a:pt x="177" y="514"/>
                    </a:cubicBezTo>
                    <a:cubicBezTo>
                      <a:pt x="186" y="514"/>
                      <a:pt x="193" y="508"/>
                      <a:pt x="193" y="499"/>
                    </a:cubicBezTo>
                    <a:cubicBezTo>
                      <a:pt x="193" y="499"/>
                      <a:pt x="193" y="498"/>
                      <a:pt x="193" y="498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225" y="447"/>
                      <a:pt x="225" y="447"/>
                      <a:pt x="225" y="447"/>
                    </a:cubicBezTo>
                    <a:cubicBezTo>
                      <a:pt x="225" y="498"/>
                      <a:pt x="225" y="498"/>
                      <a:pt x="225" y="498"/>
                    </a:cubicBezTo>
                    <a:cubicBezTo>
                      <a:pt x="224" y="506"/>
                      <a:pt x="230" y="513"/>
                      <a:pt x="239" y="514"/>
                    </a:cubicBezTo>
                    <a:cubicBezTo>
                      <a:pt x="247" y="515"/>
                      <a:pt x="254" y="508"/>
                      <a:pt x="255" y="500"/>
                    </a:cubicBezTo>
                    <a:cubicBezTo>
                      <a:pt x="255" y="499"/>
                      <a:pt x="255" y="499"/>
                      <a:pt x="255" y="498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98"/>
                      <a:pt x="286" y="498"/>
                      <a:pt x="286" y="498"/>
                    </a:cubicBezTo>
                    <a:cubicBezTo>
                      <a:pt x="286" y="506"/>
                      <a:pt x="292" y="513"/>
                      <a:pt x="300" y="514"/>
                    </a:cubicBezTo>
                    <a:cubicBezTo>
                      <a:pt x="308" y="515"/>
                      <a:pt x="316" y="508"/>
                      <a:pt x="316" y="500"/>
                    </a:cubicBezTo>
                    <a:cubicBezTo>
                      <a:pt x="316" y="499"/>
                      <a:pt x="316" y="499"/>
                      <a:pt x="316" y="498"/>
                    </a:cubicBezTo>
                    <a:cubicBezTo>
                      <a:pt x="316" y="447"/>
                      <a:pt x="316" y="447"/>
                      <a:pt x="316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98"/>
                      <a:pt x="348" y="498"/>
                      <a:pt x="348" y="498"/>
                    </a:cubicBezTo>
                    <a:cubicBezTo>
                      <a:pt x="347" y="506"/>
                      <a:pt x="354" y="513"/>
                      <a:pt x="362" y="514"/>
                    </a:cubicBezTo>
                    <a:cubicBezTo>
                      <a:pt x="370" y="514"/>
                      <a:pt x="377" y="508"/>
                      <a:pt x="378" y="499"/>
                    </a:cubicBezTo>
                    <a:cubicBezTo>
                      <a:pt x="378" y="499"/>
                      <a:pt x="378" y="498"/>
                      <a:pt x="378" y="498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95" y="447"/>
                      <a:pt x="395" y="447"/>
                      <a:pt x="395" y="447"/>
                    </a:cubicBezTo>
                    <a:cubicBezTo>
                      <a:pt x="407" y="446"/>
                      <a:pt x="416" y="436"/>
                      <a:pt x="416" y="424"/>
                    </a:cubicBezTo>
                    <a:cubicBezTo>
                      <a:pt x="416" y="406"/>
                      <a:pt x="416" y="406"/>
                      <a:pt x="416" y="406"/>
                    </a:cubicBezTo>
                    <a:cubicBezTo>
                      <a:pt x="464" y="406"/>
                      <a:pt x="464" y="406"/>
                      <a:pt x="464" y="406"/>
                    </a:cubicBezTo>
                    <a:cubicBezTo>
                      <a:pt x="472" y="406"/>
                      <a:pt x="480" y="399"/>
                      <a:pt x="480" y="390"/>
                    </a:cubicBezTo>
                    <a:cubicBezTo>
                      <a:pt x="480" y="381"/>
                      <a:pt x="472" y="374"/>
                      <a:pt x="464" y="374"/>
                    </a:cubicBezTo>
                    <a:cubicBezTo>
                      <a:pt x="416" y="374"/>
                      <a:pt x="416" y="374"/>
                      <a:pt x="416" y="374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64" y="340"/>
                      <a:pt x="464" y="340"/>
                      <a:pt x="464" y="340"/>
                    </a:cubicBezTo>
                    <a:cubicBezTo>
                      <a:pt x="472" y="340"/>
                      <a:pt x="480" y="332"/>
                      <a:pt x="480" y="324"/>
                    </a:cubicBezTo>
                    <a:cubicBezTo>
                      <a:pt x="480" y="315"/>
                      <a:pt x="472" y="308"/>
                      <a:pt x="464" y="308"/>
                    </a:cubicBezTo>
                    <a:cubicBezTo>
                      <a:pt x="416" y="308"/>
                      <a:pt x="416" y="308"/>
                      <a:pt x="416" y="308"/>
                    </a:cubicBezTo>
                    <a:cubicBezTo>
                      <a:pt x="416" y="274"/>
                      <a:pt x="416" y="274"/>
                      <a:pt x="416" y="274"/>
                    </a:cubicBezTo>
                    <a:cubicBezTo>
                      <a:pt x="464" y="274"/>
                      <a:pt x="464" y="274"/>
                      <a:pt x="464" y="274"/>
                    </a:cubicBezTo>
                    <a:cubicBezTo>
                      <a:pt x="472" y="274"/>
                      <a:pt x="480" y="266"/>
                      <a:pt x="480" y="258"/>
                    </a:cubicBezTo>
                    <a:cubicBezTo>
                      <a:pt x="480" y="249"/>
                      <a:pt x="472" y="242"/>
                      <a:pt x="464" y="242"/>
                    </a:cubicBezTo>
                    <a:cubicBezTo>
                      <a:pt x="416" y="242"/>
                      <a:pt x="416" y="242"/>
                      <a:pt x="416" y="242"/>
                    </a:cubicBezTo>
                    <a:cubicBezTo>
                      <a:pt x="416" y="208"/>
                      <a:pt x="416" y="208"/>
                      <a:pt x="416" y="208"/>
                    </a:cubicBezTo>
                    <a:cubicBezTo>
                      <a:pt x="416" y="208"/>
                      <a:pt x="416" y="208"/>
                      <a:pt x="416" y="20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6">
                <a:extLst>
                  <a:ext uri="{FF2B5EF4-FFF2-40B4-BE49-F238E27FC236}">
                    <a16:creationId xmlns:a16="http://schemas.microsoft.com/office/drawing/2014/main" id="{BD1EE676-F782-27FD-6646-7A9FE8E2B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897"/>
                <a:ext cx="106" cy="113"/>
              </a:xfrm>
              <a:custGeom>
                <a:avLst/>
                <a:gdLst>
                  <a:gd name="T0" fmla="*/ 200 w 213"/>
                  <a:gd name="T1" fmla="*/ 0 h 228"/>
                  <a:gd name="T2" fmla="*/ 13 w 213"/>
                  <a:gd name="T3" fmla="*/ 0 h 228"/>
                  <a:gd name="T4" fmla="*/ 1 w 213"/>
                  <a:gd name="T5" fmla="*/ 13 h 228"/>
                  <a:gd name="T6" fmla="*/ 1 w 213"/>
                  <a:gd name="T7" fmla="*/ 214 h 228"/>
                  <a:gd name="T8" fmla="*/ 13 w 213"/>
                  <a:gd name="T9" fmla="*/ 228 h 228"/>
                  <a:gd name="T10" fmla="*/ 13 w 213"/>
                  <a:gd name="T11" fmla="*/ 228 h 228"/>
                  <a:gd name="T12" fmla="*/ 200 w 213"/>
                  <a:gd name="T13" fmla="*/ 228 h 228"/>
                  <a:gd name="T14" fmla="*/ 213 w 213"/>
                  <a:gd name="T15" fmla="*/ 214 h 228"/>
                  <a:gd name="T16" fmla="*/ 213 w 213"/>
                  <a:gd name="T17" fmla="*/ 13 h 228"/>
                  <a:gd name="T18" fmla="*/ 200 w 213"/>
                  <a:gd name="T19" fmla="*/ 0 h 228"/>
                  <a:gd name="T20" fmla="*/ 200 w 213"/>
                  <a:gd name="T21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228">
                    <a:moveTo>
                      <a:pt x="200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1" y="6"/>
                      <a:pt x="1" y="13"/>
                    </a:cubicBezTo>
                    <a:cubicBezTo>
                      <a:pt x="1" y="214"/>
                      <a:pt x="1" y="214"/>
                      <a:pt x="1" y="214"/>
                    </a:cubicBezTo>
                    <a:cubicBezTo>
                      <a:pt x="0" y="221"/>
                      <a:pt x="6" y="227"/>
                      <a:pt x="13" y="228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200" y="228"/>
                      <a:pt x="200" y="228"/>
                      <a:pt x="200" y="228"/>
                    </a:cubicBezTo>
                    <a:cubicBezTo>
                      <a:pt x="207" y="227"/>
                      <a:pt x="213" y="221"/>
                      <a:pt x="213" y="214"/>
                    </a:cubicBezTo>
                    <a:cubicBezTo>
                      <a:pt x="213" y="13"/>
                      <a:pt x="213" y="13"/>
                      <a:pt x="213" y="13"/>
                    </a:cubicBezTo>
                    <a:cubicBezTo>
                      <a:pt x="213" y="6"/>
                      <a:pt x="207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DF56EF7-517D-691E-154F-96D841B7DB71}"/>
              </a:ext>
            </a:extLst>
          </p:cNvPr>
          <p:cNvGrpSpPr/>
          <p:nvPr/>
        </p:nvGrpSpPr>
        <p:grpSpPr>
          <a:xfrm>
            <a:off x="4670162" y="3887782"/>
            <a:ext cx="4027254" cy="519540"/>
            <a:chOff x="436796" y="3888948"/>
            <a:chExt cx="4027254" cy="519540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9B102D3C-4AC3-4D45-B148-A97230B92C5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888948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9" name="Freeform: Shape 13">
              <a:extLst>
                <a:ext uri="{FF2B5EF4-FFF2-40B4-BE49-F238E27FC236}">
                  <a16:creationId xmlns:a16="http://schemas.microsoft.com/office/drawing/2014/main" id="{BFDF1C0D-8B52-A023-C630-7430393D94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888948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6" name="Textplatzhalter 4">
              <a:extLst>
                <a:ext uri="{FF2B5EF4-FFF2-40B4-BE49-F238E27FC236}">
                  <a16:creationId xmlns:a16="http://schemas.microsoft.com/office/drawing/2014/main" id="{5DD67503-B29A-627A-EBCB-7288BD4978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964052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Maecenas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c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odio </a:t>
              </a:r>
              <a:r>
                <a:rPr lang="es-ES" sz="1200" dirty="0">
                  <a:solidFill>
                    <a:schemeClr val="tx1"/>
                  </a:solidFill>
                  <a:latin typeface="+mn-lt"/>
                  <a:cs typeface="+mn-cs"/>
                </a:rPr>
                <a:t>et ante </a:t>
              </a:r>
              <a:b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incidunt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empus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24" name="Freeform 129">
              <a:extLst>
                <a:ext uri="{FF2B5EF4-FFF2-40B4-BE49-F238E27FC236}">
                  <a16:creationId xmlns:a16="http://schemas.microsoft.com/office/drawing/2014/main" id="{744F07F6-E429-5BCB-6879-0270B5A2CA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5990" y="3937438"/>
              <a:ext cx="152628" cy="197691"/>
            </a:xfrm>
            <a:custGeom>
              <a:avLst/>
              <a:gdLst>
                <a:gd name="T0" fmla="*/ 540 w 589"/>
                <a:gd name="T1" fmla="*/ 0 h 765"/>
                <a:gd name="T2" fmla="*/ 46 w 589"/>
                <a:gd name="T3" fmla="*/ 0 h 765"/>
                <a:gd name="T4" fmla="*/ 0 w 589"/>
                <a:gd name="T5" fmla="*/ 44 h 765"/>
                <a:gd name="T6" fmla="*/ 0 w 589"/>
                <a:gd name="T7" fmla="*/ 721 h 765"/>
                <a:gd name="T8" fmla="*/ 46 w 589"/>
                <a:gd name="T9" fmla="*/ 765 h 765"/>
                <a:gd name="T10" fmla="*/ 540 w 589"/>
                <a:gd name="T11" fmla="*/ 765 h 765"/>
                <a:gd name="T12" fmla="*/ 589 w 589"/>
                <a:gd name="T13" fmla="*/ 717 h 765"/>
                <a:gd name="T14" fmla="*/ 589 w 589"/>
                <a:gd name="T15" fmla="*/ 48 h 765"/>
                <a:gd name="T16" fmla="*/ 540 w 589"/>
                <a:gd name="T17" fmla="*/ 0 h 765"/>
                <a:gd name="T18" fmla="*/ 295 w 589"/>
                <a:gd name="T19" fmla="*/ 16 h 765"/>
                <a:gd name="T20" fmla="*/ 307 w 589"/>
                <a:gd name="T21" fmla="*/ 30 h 765"/>
                <a:gd name="T22" fmla="*/ 294 w 589"/>
                <a:gd name="T23" fmla="*/ 42 h 765"/>
                <a:gd name="T24" fmla="*/ 282 w 589"/>
                <a:gd name="T25" fmla="*/ 29 h 765"/>
                <a:gd name="T26" fmla="*/ 295 w 589"/>
                <a:gd name="T27" fmla="*/ 16 h 765"/>
                <a:gd name="T28" fmla="*/ 317 w 589"/>
                <a:gd name="T29" fmla="*/ 742 h 765"/>
                <a:gd name="T30" fmla="*/ 272 w 589"/>
                <a:gd name="T31" fmla="*/ 742 h 765"/>
                <a:gd name="T32" fmla="*/ 272 w 589"/>
                <a:gd name="T33" fmla="*/ 699 h 765"/>
                <a:gd name="T34" fmla="*/ 317 w 589"/>
                <a:gd name="T35" fmla="*/ 699 h 765"/>
                <a:gd name="T36" fmla="*/ 317 w 589"/>
                <a:gd name="T37" fmla="*/ 742 h 765"/>
                <a:gd name="T38" fmla="*/ 521 w 589"/>
                <a:gd name="T39" fmla="*/ 675 h 765"/>
                <a:gd name="T40" fmla="*/ 68 w 589"/>
                <a:gd name="T41" fmla="*/ 675 h 765"/>
                <a:gd name="T42" fmla="*/ 68 w 589"/>
                <a:gd name="T43" fmla="*/ 73 h 765"/>
                <a:gd name="T44" fmla="*/ 521 w 589"/>
                <a:gd name="T45" fmla="*/ 73 h 765"/>
                <a:gd name="T46" fmla="*/ 521 w 589"/>
                <a:gd name="T47" fmla="*/ 675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9" h="765">
                  <a:moveTo>
                    <a:pt x="540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1" y="20"/>
                    <a:pt x="0" y="44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1" y="746"/>
                    <a:pt x="21" y="765"/>
                    <a:pt x="46" y="765"/>
                  </a:cubicBezTo>
                  <a:cubicBezTo>
                    <a:pt x="540" y="765"/>
                    <a:pt x="540" y="765"/>
                    <a:pt x="540" y="765"/>
                  </a:cubicBezTo>
                  <a:cubicBezTo>
                    <a:pt x="567" y="765"/>
                    <a:pt x="589" y="744"/>
                    <a:pt x="589" y="717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21"/>
                    <a:pt x="567" y="0"/>
                    <a:pt x="540" y="0"/>
                  </a:cubicBezTo>
                  <a:close/>
                  <a:moveTo>
                    <a:pt x="295" y="16"/>
                  </a:moveTo>
                  <a:cubicBezTo>
                    <a:pt x="302" y="17"/>
                    <a:pt x="307" y="23"/>
                    <a:pt x="307" y="30"/>
                  </a:cubicBezTo>
                  <a:cubicBezTo>
                    <a:pt x="307" y="37"/>
                    <a:pt x="301" y="42"/>
                    <a:pt x="294" y="42"/>
                  </a:cubicBezTo>
                  <a:cubicBezTo>
                    <a:pt x="287" y="42"/>
                    <a:pt x="282" y="36"/>
                    <a:pt x="282" y="29"/>
                  </a:cubicBezTo>
                  <a:cubicBezTo>
                    <a:pt x="282" y="22"/>
                    <a:pt x="288" y="16"/>
                    <a:pt x="295" y="16"/>
                  </a:cubicBezTo>
                  <a:close/>
                  <a:moveTo>
                    <a:pt x="317" y="742"/>
                  </a:moveTo>
                  <a:cubicBezTo>
                    <a:pt x="272" y="742"/>
                    <a:pt x="272" y="742"/>
                    <a:pt x="272" y="742"/>
                  </a:cubicBezTo>
                  <a:cubicBezTo>
                    <a:pt x="272" y="699"/>
                    <a:pt x="272" y="699"/>
                    <a:pt x="272" y="699"/>
                  </a:cubicBezTo>
                  <a:cubicBezTo>
                    <a:pt x="317" y="699"/>
                    <a:pt x="317" y="699"/>
                    <a:pt x="317" y="699"/>
                  </a:cubicBezTo>
                  <a:cubicBezTo>
                    <a:pt x="317" y="742"/>
                    <a:pt x="317" y="742"/>
                    <a:pt x="317" y="742"/>
                  </a:cubicBezTo>
                  <a:close/>
                  <a:moveTo>
                    <a:pt x="521" y="675"/>
                  </a:moveTo>
                  <a:cubicBezTo>
                    <a:pt x="68" y="675"/>
                    <a:pt x="68" y="675"/>
                    <a:pt x="68" y="675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521" y="73"/>
                    <a:pt x="521" y="73"/>
                    <a:pt x="521" y="73"/>
                  </a:cubicBezTo>
                  <a:cubicBezTo>
                    <a:pt x="521" y="675"/>
                    <a:pt x="521" y="675"/>
                    <a:pt x="521" y="6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9AB73C22-2CCD-B973-9E99-6EB7FEDE9EDD}"/>
              </a:ext>
            </a:extLst>
          </p:cNvPr>
          <p:cNvGrpSpPr/>
          <p:nvPr/>
        </p:nvGrpSpPr>
        <p:grpSpPr>
          <a:xfrm>
            <a:off x="4684946" y="1897380"/>
            <a:ext cx="4027254" cy="519540"/>
            <a:chOff x="4684946" y="1897380"/>
            <a:chExt cx="4027254" cy="519540"/>
          </a:xfrm>
        </p:grpSpPr>
        <p:sp>
          <p:nvSpPr>
            <p:cNvPr id="85" name="Text Placeholder 7">
              <a:extLst>
                <a:ext uri="{FF2B5EF4-FFF2-40B4-BE49-F238E27FC236}">
                  <a16:creationId xmlns:a16="http://schemas.microsoft.com/office/drawing/2014/main" id="{882CD230-0256-C77B-3DBB-BD35CE4760A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1897380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6" name="Freeform: Shape 13">
              <a:extLst>
                <a:ext uri="{FF2B5EF4-FFF2-40B4-BE49-F238E27FC236}">
                  <a16:creationId xmlns:a16="http://schemas.microsoft.com/office/drawing/2014/main" id="{0E0E485B-BA8C-E6BC-EA15-5E870EB893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1897380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1" name="Textplatzhalter 4">
              <a:extLst>
                <a:ext uri="{FF2B5EF4-FFF2-40B4-BE49-F238E27FC236}">
                  <a16:creationId xmlns:a16="http://schemas.microsoft.com/office/drawing/2014/main" id="{643655FF-202C-337B-7C03-77477408FF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1972484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tellus eget condimentum 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rhoncus, sem quam semper libero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53C3703-A8B8-C57B-4E61-A9F9FD1E5905}"/>
                </a:ext>
              </a:extLst>
            </p:cNvPr>
            <p:cNvGrpSpPr/>
            <p:nvPr/>
          </p:nvGrpSpPr>
          <p:grpSpPr>
            <a:xfrm>
              <a:off x="4865504" y="1939388"/>
              <a:ext cx="136344" cy="222191"/>
              <a:chOff x="8729663" y="2876591"/>
              <a:chExt cx="347760" cy="566722"/>
            </a:xfrm>
            <a:solidFill>
              <a:schemeClr val="bg1"/>
            </a:solidFill>
          </p:grpSpPr>
          <p:sp>
            <p:nvSpPr>
              <p:cNvPr id="126" name="Freeform 184">
                <a:extLst>
                  <a:ext uri="{FF2B5EF4-FFF2-40B4-BE49-F238E27FC236}">
                    <a16:creationId xmlns:a16="http://schemas.microsoft.com/office/drawing/2014/main" id="{9F5C5BD9-D0C0-FB71-52A8-DCD1DF9C86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29663" y="2876591"/>
                <a:ext cx="347760" cy="431482"/>
              </a:xfrm>
              <a:custGeom>
                <a:avLst/>
                <a:gdLst>
                  <a:gd name="T0" fmla="*/ 100 w 219"/>
                  <a:gd name="T1" fmla="*/ 214 h 273"/>
                  <a:gd name="T2" fmla="*/ 75 w 219"/>
                  <a:gd name="T3" fmla="*/ 208 h 273"/>
                  <a:gd name="T4" fmla="*/ 46 w 219"/>
                  <a:gd name="T5" fmla="*/ 109 h 273"/>
                  <a:gd name="T6" fmla="*/ 166 w 219"/>
                  <a:gd name="T7" fmla="*/ 173 h 273"/>
                  <a:gd name="T8" fmla="*/ 148 w 219"/>
                  <a:gd name="T9" fmla="*/ 184 h 273"/>
                  <a:gd name="T10" fmla="*/ 175 w 219"/>
                  <a:gd name="T11" fmla="*/ 161 h 273"/>
                  <a:gd name="T12" fmla="*/ 183 w 219"/>
                  <a:gd name="T13" fmla="*/ 181 h 273"/>
                  <a:gd name="T14" fmla="*/ 173 w 219"/>
                  <a:gd name="T15" fmla="*/ 195 h 273"/>
                  <a:gd name="T16" fmla="*/ 151 w 219"/>
                  <a:gd name="T17" fmla="*/ 195 h 273"/>
                  <a:gd name="T18" fmla="*/ 140 w 219"/>
                  <a:gd name="T19" fmla="*/ 192 h 273"/>
                  <a:gd name="T20" fmla="*/ 120 w 219"/>
                  <a:gd name="T21" fmla="*/ 183 h 273"/>
                  <a:gd name="T22" fmla="*/ 117 w 219"/>
                  <a:gd name="T23" fmla="*/ 166 h 273"/>
                  <a:gd name="T24" fmla="*/ 133 w 219"/>
                  <a:gd name="T25" fmla="*/ 152 h 273"/>
                  <a:gd name="T26" fmla="*/ 143 w 219"/>
                  <a:gd name="T27" fmla="*/ 146 h 273"/>
                  <a:gd name="T28" fmla="*/ 163 w 219"/>
                  <a:gd name="T29" fmla="*/ 137 h 273"/>
                  <a:gd name="T30" fmla="*/ 177 w 219"/>
                  <a:gd name="T31" fmla="*/ 147 h 273"/>
                  <a:gd name="T32" fmla="*/ 132 w 219"/>
                  <a:gd name="T33" fmla="*/ 111 h 273"/>
                  <a:gd name="T34" fmla="*/ 132 w 219"/>
                  <a:gd name="T35" fmla="*/ 124 h 273"/>
                  <a:gd name="T36" fmla="*/ 119 w 219"/>
                  <a:gd name="T37" fmla="*/ 139 h 273"/>
                  <a:gd name="T38" fmla="*/ 112 w 219"/>
                  <a:gd name="T39" fmla="*/ 148 h 273"/>
                  <a:gd name="T40" fmla="*/ 102 w 219"/>
                  <a:gd name="T41" fmla="*/ 166 h 273"/>
                  <a:gd name="T42" fmla="*/ 91 w 219"/>
                  <a:gd name="T43" fmla="*/ 170 h 273"/>
                  <a:gd name="T44" fmla="*/ 71 w 219"/>
                  <a:gd name="T45" fmla="*/ 164 h 273"/>
                  <a:gd name="T46" fmla="*/ 61 w 219"/>
                  <a:gd name="T47" fmla="*/ 161 h 273"/>
                  <a:gd name="T48" fmla="*/ 40 w 219"/>
                  <a:gd name="T49" fmla="*/ 159 h 273"/>
                  <a:gd name="T50" fmla="*/ 31 w 219"/>
                  <a:gd name="T51" fmla="*/ 150 h 273"/>
                  <a:gd name="T52" fmla="*/ 30 w 219"/>
                  <a:gd name="T53" fmla="*/ 130 h 273"/>
                  <a:gd name="T54" fmla="*/ 28 w 219"/>
                  <a:gd name="T55" fmla="*/ 119 h 273"/>
                  <a:gd name="T56" fmla="*/ 22 w 219"/>
                  <a:gd name="T57" fmla="*/ 99 h 273"/>
                  <a:gd name="T58" fmla="*/ 28 w 219"/>
                  <a:gd name="T59" fmla="*/ 88 h 273"/>
                  <a:gd name="T60" fmla="*/ 46 w 219"/>
                  <a:gd name="T61" fmla="*/ 79 h 273"/>
                  <a:gd name="T62" fmla="*/ 56 w 219"/>
                  <a:gd name="T63" fmla="*/ 73 h 273"/>
                  <a:gd name="T64" fmla="*/ 71 w 219"/>
                  <a:gd name="T65" fmla="*/ 60 h 273"/>
                  <a:gd name="T66" fmla="*/ 84 w 219"/>
                  <a:gd name="T67" fmla="*/ 60 h 273"/>
                  <a:gd name="T68" fmla="*/ 99 w 219"/>
                  <a:gd name="T69" fmla="*/ 74 h 273"/>
                  <a:gd name="T70" fmla="*/ 108 w 219"/>
                  <a:gd name="T71" fmla="*/ 80 h 273"/>
                  <a:gd name="T72" fmla="*/ 126 w 219"/>
                  <a:gd name="T73" fmla="*/ 90 h 273"/>
                  <a:gd name="T74" fmla="*/ 131 w 219"/>
                  <a:gd name="T75" fmla="*/ 102 h 273"/>
                  <a:gd name="T76" fmla="*/ 63 w 219"/>
                  <a:gd name="T77" fmla="*/ 213 h 273"/>
                  <a:gd name="T78" fmla="*/ 59 w 219"/>
                  <a:gd name="T79" fmla="*/ 192 h 273"/>
                  <a:gd name="T80" fmla="*/ 72 w 219"/>
                  <a:gd name="T81" fmla="*/ 180 h 273"/>
                  <a:gd name="T82" fmla="*/ 93 w 219"/>
                  <a:gd name="T83" fmla="*/ 187 h 273"/>
                  <a:gd name="T84" fmla="*/ 103 w 219"/>
                  <a:gd name="T85" fmla="*/ 191 h 273"/>
                  <a:gd name="T86" fmla="*/ 121 w 219"/>
                  <a:gd name="T87" fmla="*/ 204 h 273"/>
                  <a:gd name="T88" fmla="*/ 120 w 219"/>
                  <a:gd name="T89" fmla="*/ 222 h 273"/>
                  <a:gd name="T90" fmla="*/ 101 w 219"/>
                  <a:gd name="T91" fmla="*/ 232 h 273"/>
                  <a:gd name="T92" fmla="*/ 90 w 219"/>
                  <a:gd name="T93" fmla="*/ 236 h 273"/>
                  <a:gd name="T94" fmla="*/ 68 w 219"/>
                  <a:gd name="T95" fmla="*/ 239 h 273"/>
                  <a:gd name="T96" fmla="*/ 57 w 219"/>
                  <a:gd name="T97" fmla="*/ 226 h 273"/>
                  <a:gd name="T98" fmla="*/ 110 w 219"/>
                  <a:gd name="T99" fmla="*/ 0 h 273"/>
                  <a:gd name="T100" fmla="*/ 4 w 219"/>
                  <a:gd name="T101" fmla="*/ 136 h 273"/>
                  <a:gd name="T102" fmla="*/ 66 w 219"/>
                  <a:gd name="T103" fmla="*/ 273 h 273"/>
                  <a:gd name="T104" fmla="*/ 194 w 219"/>
                  <a:gd name="T105" fmla="*/ 178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9" h="273">
                    <a:moveTo>
                      <a:pt x="75" y="208"/>
                    </a:moveTo>
                    <a:cubicBezTo>
                      <a:pt x="74" y="215"/>
                      <a:pt x="78" y="222"/>
                      <a:pt x="85" y="223"/>
                    </a:cubicBezTo>
                    <a:cubicBezTo>
                      <a:pt x="91" y="225"/>
                      <a:pt x="98" y="221"/>
                      <a:pt x="100" y="214"/>
                    </a:cubicBezTo>
                    <a:cubicBezTo>
                      <a:pt x="102" y="207"/>
                      <a:pt x="98" y="200"/>
                      <a:pt x="91" y="199"/>
                    </a:cubicBezTo>
                    <a:cubicBezTo>
                      <a:pt x="91" y="199"/>
                      <a:pt x="91" y="199"/>
                      <a:pt x="91" y="199"/>
                    </a:cubicBezTo>
                    <a:cubicBezTo>
                      <a:pt x="84" y="197"/>
                      <a:pt x="77" y="201"/>
                      <a:pt x="75" y="208"/>
                    </a:cubicBezTo>
                    <a:moveTo>
                      <a:pt x="107" y="123"/>
                    </a:moveTo>
                    <a:cubicBezTo>
                      <a:pt x="111" y="106"/>
                      <a:pt x="100" y="90"/>
                      <a:pt x="83" y="86"/>
                    </a:cubicBezTo>
                    <a:cubicBezTo>
                      <a:pt x="66" y="82"/>
                      <a:pt x="50" y="93"/>
                      <a:pt x="46" y="109"/>
                    </a:cubicBezTo>
                    <a:cubicBezTo>
                      <a:pt x="42" y="126"/>
                      <a:pt x="53" y="143"/>
                      <a:pt x="70" y="147"/>
                    </a:cubicBezTo>
                    <a:cubicBezTo>
                      <a:pt x="86" y="150"/>
                      <a:pt x="103" y="140"/>
                      <a:pt x="107" y="123"/>
                    </a:cubicBezTo>
                    <a:moveTo>
                      <a:pt x="166" y="173"/>
                    </a:moveTo>
                    <a:cubicBezTo>
                      <a:pt x="167" y="165"/>
                      <a:pt x="162" y="157"/>
                      <a:pt x="154" y="155"/>
                    </a:cubicBezTo>
                    <a:cubicBezTo>
                      <a:pt x="146" y="153"/>
                      <a:pt x="138" y="158"/>
                      <a:pt x="136" y="166"/>
                    </a:cubicBezTo>
                    <a:cubicBezTo>
                      <a:pt x="135" y="174"/>
                      <a:pt x="140" y="182"/>
                      <a:pt x="148" y="184"/>
                    </a:cubicBezTo>
                    <a:cubicBezTo>
                      <a:pt x="156" y="186"/>
                      <a:pt x="164" y="181"/>
                      <a:pt x="166" y="173"/>
                    </a:cubicBezTo>
                    <a:cubicBezTo>
                      <a:pt x="166" y="173"/>
                      <a:pt x="166" y="173"/>
                      <a:pt x="166" y="173"/>
                    </a:cubicBezTo>
                    <a:moveTo>
                      <a:pt x="175" y="161"/>
                    </a:moveTo>
                    <a:cubicBezTo>
                      <a:pt x="176" y="164"/>
                      <a:pt x="176" y="166"/>
                      <a:pt x="176" y="169"/>
                    </a:cubicBezTo>
                    <a:cubicBezTo>
                      <a:pt x="185" y="172"/>
                      <a:pt x="185" y="172"/>
                      <a:pt x="185" y="172"/>
                    </a:cubicBezTo>
                    <a:cubicBezTo>
                      <a:pt x="183" y="181"/>
                      <a:pt x="183" y="181"/>
                      <a:pt x="183" y="181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2" y="183"/>
                      <a:pt x="171" y="185"/>
                      <a:pt x="169" y="187"/>
                    </a:cubicBezTo>
                    <a:cubicBezTo>
                      <a:pt x="173" y="195"/>
                      <a:pt x="173" y="195"/>
                      <a:pt x="173" y="195"/>
                    </a:cubicBezTo>
                    <a:cubicBezTo>
                      <a:pt x="165" y="200"/>
                      <a:pt x="165" y="200"/>
                      <a:pt x="165" y="200"/>
                    </a:cubicBezTo>
                    <a:cubicBezTo>
                      <a:pt x="159" y="193"/>
                      <a:pt x="159" y="193"/>
                      <a:pt x="159" y="193"/>
                    </a:cubicBezTo>
                    <a:cubicBezTo>
                      <a:pt x="157" y="194"/>
                      <a:pt x="154" y="195"/>
                      <a:pt x="151" y="195"/>
                    </a:cubicBezTo>
                    <a:cubicBezTo>
                      <a:pt x="148" y="203"/>
                      <a:pt x="148" y="203"/>
                      <a:pt x="148" y="203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40" y="192"/>
                      <a:pt x="140" y="192"/>
                      <a:pt x="140" y="192"/>
                    </a:cubicBezTo>
                    <a:cubicBezTo>
                      <a:pt x="138" y="191"/>
                      <a:pt x="135" y="189"/>
                      <a:pt x="133" y="187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20" y="183"/>
                      <a:pt x="120" y="183"/>
                      <a:pt x="120" y="183"/>
                    </a:cubicBezTo>
                    <a:cubicBezTo>
                      <a:pt x="127" y="178"/>
                      <a:pt x="127" y="178"/>
                      <a:pt x="127" y="178"/>
                    </a:cubicBezTo>
                    <a:cubicBezTo>
                      <a:pt x="126" y="175"/>
                      <a:pt x="126" y="172"/>
                      <a:pt x="126" y="170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9" y="157"/>
                      <a:pt x="119" y="157"/>
                      <a:pt x="119" y="157"/>
                    </a:cubicBezTo>
                    <a:cubicBezTo>
                      <a:pt x="128" y="158"/>
                      <a:pt x="128" y="158"/>
                      <a:pt x="128" y="158"/>
                    </a:cubicBezTo>
                    <a:cubicBezTo>
                      <a:pt x="130" y="156"/>
                      <a:pt x="131" y="154"/>
                      <a:pt x="133" y="152"/>
                    </a:cubicBezTo>
                    <a:cubicBezTo>
                      <a:pt x="129" y="143"/>
                      <a:pt x="129" y="143"/>
                      <a:pt x="129" y="143"/>
                    </a:cubicBezTo>
                    <a:cubicBezTo>
                      <a:pt x="137" y="138"/>
                      <a:pt x="137" y="138"/>
                      <a:pt x="137" y="138"/>
                    </a:cubicBez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5" y="145"/>
                      <a:pt x="148" y="144"/>
                      <a:pt x="151" y="144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63" y="137"/>
                      <a:pt x="163" y="137"/>
                      <a:pt x="163" y="137"/>
                    </a:cubicBezTo>
                    <a:cubicBezTo>
                      <a:pt x="162" y="147"/>
                      <a:pt x="162" y="147"/>
                      <a:pt x="162" y="147"/>
                    </a:cubicBezTo>
                    <a:cubicBezTo>
                      <a:pt x="164" y="148"/>
                      <a:pt x="167" y="150"/>
                      <a:pt x="169" y="151"/>
                    </a:cubicBezTo>
                    <a:cubicBezTo>
                      <a:pt x="177" y="147"/>
                      <a:pt x="177" y="147"/>
                      <a:pt x="177" y="147"/>
                    </a:cubicBezTo>
                    <a:cubicBezTo>
                      <a:pt x="182" y="155"/>
                      <a:pt x="182" y="155"/>
                      <a:pt x="182" y="155"/>
                    </a:cubicBezTo>
                    <a:lnTo>
                      <a:pt x="175" y="161"/>
                    </a:lnTo>
                    <a:close/>
                    <a:moveTo>
                      <a:pt x="132" y="111"/>
                    </a:moveTo>
                    <a:cubicBezTo>
                      <a:pt x="124" y="113"/>
                      <a:pt x="124" y="113"/>
                      <a:pt x="124" y="113"/>
                    </a:cubicBezTo>
                    <a:cubicBezTo>
                      <a:pt x="124" y="116"/>
                      <a:pt x="124" y="118"/>
                      <a:pt x="124" y="121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1" y="134"/>
                      <a:pt x="120" y="136"/>
                      <a:pt x="119" y="139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20" y="152"/>
                      <a:pt x="120" y="152"/>
                      <a:pt x="120" y="152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0" y="150"/>
                      <a:pt x="108" y="152"/>
                      <a:pt x="106" y="153"/>
                    </a:cubicBezTo>
                    <a:cubicBezTo>
                      <a:pt x="110" y="161"/>
                      <a:pt x="110" y="161"/>
                      <a:pt x="110" y="161"/>
                    </a:cubicBezTo>
                    <a:cubicBezTo>
                      <a:pt x="102" y="166"/>
                      <a:pt x="102" y="166"/>
                      <a:pt x="102" y="166"/>
                    </a:cubicBezTo>
                    <a:cubicBezTo>
                      <a:pt x="97" y="159"/>
                      <a:pt x="97" y="159"/>
                      <a:pt x="97" y="159"/>
                    </a:cubicBezTo>
                    <a:cubicBezTo>
                      <a:pt x="95" y="160"/>
                      <a:pt x="93" y="161"/>
                      <a:pt x="90" y="162"/>
                    </a:cubicBezTo>
                    <a:cubicBezTo>
                      <a:pt x="91" y="170"/>
                      <a:pt x="91" y="170"/>
                      <a:pt x="91" y="170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77" y="164"/>
                      <a:pt x="74" y="164"/>
                      <a:pt x="71" y="164"/>
                    </a:cubicBezTo>
                    <a:cubicBezTo>
                      <a:pt x="69" y="172"/>
                      <a:pt x="69" y="172"/>
                      <a:pt x="69" y="172"/>
                    </a:cubicBezTo>
                    <a:cubicBezTo>
                      <a:pt x="60" y="170"/>
                      <a:pt x="60" y="170"/>
                      <a:pt x="60" y="170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58" y="161"/>
                      <a:pt x="56" y="160"/>
                      <a:pt x="54" y="158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3" y="150"/>
                      <a:pt x="41" y="148"/>
                      <a:pt x="39" y="146"/>
                    </a:cubicBezTo>
                    <a:cubicBezTo>
                      <a:pt x="31" y="150"/>
                      <a:pt x="31" y="150"/>
                      <a:pt x="31" y="150"/>
                    </a:cubicBezTo>
                    <a:cubicBezTo>
                      <a:pt x="26" y="142"/>
                      <a:pt x="26" y="142"/>
                      <a:pt x="26" y="142"/>
                    </a:cubicBezTo>
                    <a:cubicBezTo>
                      <a:pt x="33" y="137"/>
                      <a:pt x="33" y="137"/>
                      <a:pt x="33" y="137"/>
                    </a:cubicBezTo>
                    <a:cubicBezTo>
                      <a:pt x="32" y="135"/>
                      <a:pt x="31" y="132"/>
                      <a:pt x="30" y="130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0" y="121"/>
                      <a:pt x="20" y="121"/>
                      <a:pt x="20" y="121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6"/>
                      <a:pt x="28" y="114"/>
                      <a:pt x="28" y="111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2" y="98"/>
                      <a:pt x="33" y="96"/>
                      <a:pt x="34" y="93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2" y="82"/>
                      <a:pt x="44" y="81"/>
                      <a:pt x="46" y="79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51" y="66"/>
                      <a:pt x="51" y="66"/>
                      <a:pt x="51" y="6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8" y="72"/>
                      <a:pt x="60" y="71"/>
                      <a:pt x="63" y="70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68"/>
                      <a:pt x="79" y="68"/>
                      <a:pt x="82" y="68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71"/>
                      <a:pt x="92" y="71"/>
                      <a:pt x="92" y="71"/>
                    </a:cubicBezTo>
                    <a:cubicBezTo>
                      <a:pt x="95" y="72"/>
                      <a:pt x="97" y="73"/>
                      <a:pt x="99" y="74"/>
                    </a:cubicBezTo>
                    <a:cubicBezTo>
                      <a:pt x="105" y="68"/>
                      <a:pt x="105" y="68"/>
                      <a:pt x="105" y="68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82"/>
                      <a:pt x="112" y="84"/>
                      <a:pt x="114" y="86"/>
                    </a:cubicBezTo>
                    <a:cubicBezTo>
                      <a:pt x="121" y="82"/>
                      <a:pt x="121" y="82"/>
                      <a:pt x="121" y="82"/>
                    </a:cubicBezTo>
                    <a:cubicBezTo>
                      <a:pt x="126" y="90"/>
                      <a:pt x="126" y="90"/>
                      <a:pt x="126" y="90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1" y="98"/>
                      <a:pt x="121" y="100"/>
                      <a:pt x="122" y="102"/>
                    </a:cubicBezTo>
                    <a:cubicBezTo>
                      <a:pt x="131" y="102"/>
                      <a:pt x="131" y="102"/>
                      <a:pt x="131" y="102"/>
                    </a:cubicBezTo>
                    <a:lnTo>
                      <a:pt x="132" y="111"/>
                    </a:lnTo>
                    <a:close/>
                    <a:moveTo>
                      <a:pt x="54" y="217"/>
                    </a:moveTo>
                    <a:cubicBezTo>
                      <a:pt x="63" y="213"/>
                      <a:pt x="63" y="213"/>
                      <a:pt x="63" y="213"/>
                    </a:cubicBezTo>
                    <a:cubicBezTo>
                      <a:pt x="62" y="211"/>
                      <a:pt x="63" y="208"/>
                      <a:pt x="63" y="205"/>
                    </a:cubicBezTo>
                    <a:cubicBezTo>
                      <a:pt x="55" y="200"/>
                      <a:pt x="55" y="200"/>
                      <a:pt x="55" y="200"/>
                    </a:cubicBezTo>
                    <a:cubicBezTo>
                      <a:pt x="59" y="192"/>
                      <a:pt x="59" y="192"/>
                      <a:pt x="59" y="192"/>
                    </a:cubicBezTo>
                    <a:cubicBezTo>
                      <a:pt x="68" y="195"/>
                      <a:pt x="68" y="195"/>
                      <a:pt x="68" y="195"/>
                    </a:cubicBezTo>
                    <a:cubicBezTo>
                      <a:pt x="70" y="193"/>
                      <a:pt x="72" y="191"/>
                      <a:pt x="74" y="19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81" y="178"/>
                      <a:pt x="81" y="178"/>
                      <a:pt x="81" y="178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88" y="186"/>
                      <a:pt x="91" y="186"/>
                      <a:pt x="93" y="187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106" y="183"/>
                      <a:pt x="106" y="183"/>
                      <a:pt x="106" y="183"/>
                    </a:cubicBezTo>
                    <a:cubicBezTo>
                      <a:pt x="103" y="191"/>
                      <a:pt x="103" y="191"/>
                      <a:pt x="103" y="191"/>
                    </a:cubicBezTo>
                    <a:cubicBezTo>
                      <a:pt x="105" y="193"/>
                      <a:pt x="107" y="195"/>
                      <a:pt x="109" y="198"/>
                    </a:cubicBezTo>
                    <a:cubicBezTo>
                      <a:pt x="118" y="196"/>
                      <a:pt x="118" y="196"/>
                      <a:pt x="118" y="196"/>
                    </a:cubicBezTo>
                    <a:cubicBezTo>
                      <a:pt x="121" y="204"/>
                      <a:pt x="121" y="204"/>
                      <a:pt x="121" y="204"/>
                    </a:cubicBez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12" y="211"/>
                      <a:pt x="112" y="214"/>
                      <a:pt x="112" y="216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16" y="230"/>
                      <a:pt x="116" y="230"/>
                      <a:pt x="116" y="230"/>
                    </a:cubicBezTo>
                    <a:cubicBezTo>
                      <a:pt x="107" y="227"/>
                      <a:pt x="107" y="227"/>
                      <a:pt x="107" y="227"/>
                    </a:cubicBezTo>
                    <a:cubicBezTo>
                      <a:pt x="105" y="229"/>
                      <a:pt x="103" y="231"/>
                      <a:pt x="101" y="232"/>
                    </a:cubicBezTo>
                    <a:cubicBezTo>
                      <a:pt x="103" y="241"/>
                      <a:pt x="103" y="241"/>
                      <a:pt x="103" y="241"/>
                    </a:cubicBezTo>
                    <a:cubicBezTo>
                      <a:pt x="94" y="244"/>
                      <a:pt x="94" y="244"/>
                      <a:pt x="94" y="244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87" y="236"/>
                      <a:pt x="84" y="236"/>
                      <a:pt x="82" y="235"/>
                    </a:cubicBezTo>
                    <a:cubicBezTo>
                      <a:pt x="77" y="243"/>
                      <a:pt x="77" y="243"/>
                      <a:pt x="77" y="243"/>
                    </a:cubicBezTo>
                    <a:cubicBezTo>
                      <a:pt x="68" y="239"/>
                      <a:pt x="68" y="239"/>
                      <a:pt x="68" y="239"/>
                    </a:cubicBezTo>
                    <a:cubicBezTo>
                      <a:pt x="72" y="230"/>
                      <a:pt x="72" y="230"/>
                      <a:pt x="72" y="230"/>
                    </a:cubicBezTo>
                    <a:cubicBezTo>
                      <a:pt x="70" y="228"/>
                      <a:pt x="68" y="226"/>
                      <a:pt x="66" y="224"/>
                    </a:cubicBezTo>
                    <a:cubicBezTo>
                      <a:pt x="57" y="226"/>
                      <a:pt x="57" y="226"/>
                      <a:pt x="57" y="226"/>
                    </a:cubicBezTo>
                    <a:lnTo>
                      <a:pt x="54" y="217"/>
                    </a:lnTo>
                    <a:close/>
                    <a:moveTo>
                      <a:pt x="219" y="110"/>
                    </a:moveTo>
                    <a:cubicBezTo>
                      <a:pt x="219" y="49"/>
                      <a:pt x="170" y="0"/>
                      <a:pt x="110" y="0"/>
                    </a:cubicBezTo>
                    <a:cubicBezTo>
                      <a:pt x="49" y="0"/>
                      <a:pt x="0" y="49"/>
                      <a:pt x="0" y="11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8"/>
                      <a:pt x="1" y="127"/>
                      <a:pt x="4" y="136"/>
                    </a:cubicBezTo>
                    <a:cubicBezTo>
                      <a:pt x="9" y="151"/>
                      <a:pt x="15" y="165"/>
                      <a:pt x="24" y="178"/>
                    </a:cubicBezTo>
                    <a:cubicBezTo>
                      <a:pt x="47" y="212"/>
                      <a:pt x="49" y="226"/>
                      <a:pt x="49" y="242"/>
                    </a:cubicBezTo>
                    <a:cubicBezTo>
                      <a:pt x="49" y="260"/>
                      <a:pt x="61" y="267"/>
                      <a:pt x="66" y="273"/>
                    </a:cubicBezTo>
                    <a:cubicBezTo>
                      <a:pt x="152" y="273"/>
                      <a:pt x="152" y="273"/>
                      <a:pt x="152" y="273"/>
                    </a:cubicBezTo>
                    <a:cubicBezTo>
                      <a:pt x="152" y="273"/>
                      <a:pt x="170" y="260"/>
                      <a:pt x="170" y="242"/>
                    </a:cubicBezTo>
                    <a:cubicBezTo>
                      <a:pt x="170" y="226"/>
                      <a:pt x="172" y="212"/>
                      <a:pt x="194" y="178"/>
                    </a:cubicBezTo>
                    <a:cubicBezTo>
                      <a:pt x="202" y="167"/>
                      <a:pt x="208" y="154"/>
                      <a:pt x="214" y="142"/>
                    </a:cubicBezTo>
                    <a:cubicBezTo>
                      <a:pt x="217" y="131"/>
                      <a:pt x="218" y="120"/>
                      <a:pt x="218" y="10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185">
                <a:extLst>
                  <a:ext uri="{FF2B5EF4-FFF2-40B4-BE49-F238E27FC236}">
                    <a16:creationId xmlns:a16="http://schemas.microsoft.com/office/drawing/2014/main" id="{D6EEA57E-8882-CBCC-CD89-FD9A53F64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03" y="3327393"/>
                <a:ext cx="141680" cy="25760"/>
              </a:xfrm>
              <a:custGeom>
                <a:avLst/>
                <a:gdLst>
                  <a:gd name="T0" fmla="*/ 1 w 87"/>
                  <a:gd name="T1" fmla="*/ 12 h 17"/>
                  <a:gd name="T2" fmla="*/ 4 w 87"/>
                  <a:gd name="T3" fmla="*/ 17 h 17"/>
                  <a:gd name="T4" fmla="*/ 83 w 87"/>
                  <a:gd name="T5" fmla="*/ 13 h 17"/>
                  <a:gd name="T6" fmla="*/ 83 w 87"/>
                  <a:gd name="T7" fmla="*/ 13 h 17"/>
                  <a:gd name="T8" fmla="*/ 87 w 87"/>
                  <a:gd name="T9" fmla="*/ 9 h 17"/>
                  <a:gd name="T10" fmla="*/ 87 w 87"/>
                  <a:gd name="T11" fmla="*/ 8 h 17"/>
                  <a:gd name="T12" fmla="*/ 87 w 87"/>
                  <a:gd name="T13" fmla="*/ 0 h 17"/>
                  <a:gd name="T14" fmla="*/ 0 w 87"/>
                  <a:gd name="T15" fmla="*/ 0 h 17"/>
                  <a:gd name="T16" fmla="*/ 1 w 87"/>
                  <a:gd name="T17" fmla="*/ 11 h 17"/>
                  <a:gd name="T18" fmla="*/ 1 w 87"/>
                  <a:gd name="T1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" h="17">
                    <a:moveTo>
                      <a:pt x="1" y="12"/>
                    </a:moveTo>
                    <a:cubicBezTo>
                      <a:pt x="1" y="13"/>
                      <a:pt x="3" y="16"/>
                      <a:pt x="4" y="17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5" y="12"/>
                      <a:pt x="86" y="10"/>
                      <a:pt x="87" y="9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1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186">
                <a:extLst>
                  <a:ext uri="{FF2B5EF4-FFF2-40B4-BE49-F238E27FC236}">
                    <a16:creationId xmlns:a16="http://schemas.microsoft.com/office/drawing/2014/main" id="{A0599073-A57D-6502-5F07-7DCE470E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59593"/>
                <a:ext cx="128800" cy="25760"/>
              </a:xfrm>
              <a:custGeom>
                <a:avLst/>
                <a:gdLst>
                  <a:gd name="T0" fmla="*/ 3 w 84"/>
                  <a:gd name="T1" fmla="*/ 15 h 15"/>
                  <a:gd name="T2" fmla="*/ 80 w 84"/>
                  <a:gd name="T3" fmla="*/ 10 h 15"/>
                  <a:gd name="T4" fmla="*/ 80 w 84"/>
                  <a:gd name="T5" fmla="*/ 10 h 15"/>
                  <a:gd name="T6" fmla="*/ 84 w 84"/>
                  <a:gd name="T7" fmla="*/ 6 h 15"/>
                  <a:gd name="T8" fmla="*/ 81 w 84"/>
                  <a:gd name="T9" fmla="*/ 0 h 15"/>
                  <a:gd name="T10" fmla="*/ 2 w 84"/>
                  <a:gd name="T11" fmla="*/ 5 h 15"/>
                  <a:gd name="T12" fmla="*/ 2 w 84"/>
                  <a:gd name="T13" fmla="*/ 5 h 15"/>
                  <a:gd name="T14" fmla="*/ 0 w 84"/>
                  <a:gd name="T15" fmla="*/ 9 h 15"/>
                  <a:gd name="T16" fmla="*/ 3 w 84"/>
                  <a:gd name="T17" fmla="*/ 14 h 15"/>
                  <a:gd name="T18" fmla="*/ 3 w 84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15">
                    <a:moveTo>
                      <a:pt x="3" y="15"/>
                    </a:move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2" y="8"/>
                      <a:pt x="84" y="7"/>
                      <a:pt x="84" y="6"/>
                    </a:cubicBezTo>
                    <a:cubicBezTo>
                      <a:pt x="84" y="4"/>
                      <a:pt x="81" y="2"/>
                      <a:pt x="81" y="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0" y="8"/>
                      <a:pt x="0" y="9"/>
                    </a:cubicBezTo>
                    <a:cubicBezTo>
                      <a:pt x="0" y="11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187">
                <a:extLst>
                  <a:ext uri="{FF2B5EF4-FFF2-40B4-BE49-F238E27FC236}">
                    <a16:creationId xmlns:a16="http://schemas.microsoft.com/office/drawing/2014/main" id="{0D20A02E-79E4-D1FE-261B-ED8C675A3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91793"/>
                <a:ext cx="135240" cy="51520"/>
              </a:xfrm>
              <a:custGeom>
                <a:avLst/>
                <a:gdLst>
                  <a:gd name="T0" fmla="*/ 3 w 86"/>
                  <a:gd name="T1" fmla="*/ 5 h 34"/>
                  <a:gd name="T2" fmla="*/ 3 w 86"/>
                  <a:gd name="T3" fmla="*/ 6 h 34"/>
                  <a:gd name="T4" fmla="*/ 2 w 86"/>
                  <a:gd name="T5" fmla="*/ 11 h 34"/>
                  <a:gd name="T6" fmla="*/ 16 w 86"/>
                  <a:gd name="T7" fmla="*/ 23 h 34"/>
                  <a:gd name="T8" fmla="*/ 38 w 86"/>
                  <a:gd name="T9" fmla="*/ 34 h 34"/>
                  <a:gd name="T10" fmla="*/ 47 w 86"/>
                  <a:gd name="T11" fmla="*/ 34 h 34"/>
                  <a:gd name="T12" fmla="*/ 69 w 86"/>
                  <a:gd name="T13" fmla="*/ 23 h 34"/>
                  <a:gd name="T14" fmla="*/ 81 w 86"/>
                  <a:gd name="T15" fmla="*/ 8 h 34"/>
                  <a:gd name="T16" fmla="*/ 82 w 86"/>
                  <a:gd name="T17" fmla="*/ 0 h 34"/>
                  <a:gd name="T18" fmla="*/ 3 w 8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34">
                    <a:moveTo>
                      <a:pt x="3" y="5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0" y="9"/>
                      <a:pt x="2" y="11"/>
                    </a:cubicBezTo>
                    <a:cubicBezTo>
                      <a:pt x="4" y="13"/>
                      <a:pt x="11" y="15"/>
                      <a:pt x="16" y="23"/>
                    </a:cubicBezTo>
                    <a:cubicBezTo>
                      <a:pt x="21" y="32"/>
                      <a:pt x="24" y="34"/>
                      <a:pt x="38" y="34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61" y="34"/>
                      <a:pt x="64" y="32"/>
                      <a:pt x="69" y="23"/>
                    </a:cubicBezTo>
                    <a:cubicBezTo>
                      <a:pt x="72" y="17"/>
                      <a:pt x="76" y="12"/>
                      <a:pt x="81" y="8"/>
                    </a:cubicBezTo>
                    <a:cubicBezTo>
                      <a:pt x="86" y="5"/>
                      <a:pt x="83" y="2"/>
                      <a:pt x="82" y="0"/>
                    </a:cubicBez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E84E0F98-7383-F27F-AB02-AC587A5B45A3}"/>
              </a:ext>
            </a:extLst>
          </p:cNvPr>
          <p:cNvGrpSpPr/>
          <p:nvPr/>
        </p:nvGrpSpPr>
        <p:grpSpPr>
          <a:xfrm>
            <a:off x="4684946" y="2561236"/>
            <a:ext cx="4027254" cy="519540"/>
            <a:chOff x="4684946" y="2561236"/>
            <a:chExt cx="4027254" cy="519540"/>
          </a:xfrm>
        </p:grpSpPr>
        <p:sp>
          <p:nvSpPr>
            <p:cNvPr id="82" name="Text Placeholder 7">
              <a:extLst>
                <a:ext uri="{FF2B5EF4-FFF2-40B4-BE49-F238E27FC236}">
                  <a16:creationId xmlns:a16="http://schemas.microsoft.com/office/drawing/2014/main" id="{C6912AB7-468F-CA62-1525-5FF522DBF27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3" name="Freeform: Shape 13">
              <a:extLst>
                <a:ext uri="{FF2B5EF4-FFF2-40B4-BE49-F238E27FC236}">
                  <a16:creationId xmlns:a16="http://schemas.microsoft.com/office/drawing/2014/main" id="{E514503A-CE74-18C8-EAF1-B117485001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2" name="Textplatzhalter 4">
              <a:extLst>
                <a:ext uri="{FF2B5EF4-FFF2-40B4-BE49-F238E27FC236}">
                  <a16:creationId xmlns:a16="http://schemas.microsoft.com/office/drawing/2014/main" id="{BC97E7D1-0755-A98B-70DA-F21971E408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2728673"/>
              <a:ext cx="288032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sit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adipiscing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sem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sed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30" name="Group 73">
              <a:extLst>
                <a:ext uri="{FF2B5EF4-FFF2-40B4-BE49-F238E27FC236}">
                  <a16:creationId xmlns:a16="http://schemas.microsoft.com/office/drawing/2014/main" id="{1AD43A03-3D6D-4931-3189-B37AF288C0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29345" y="2620681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131" name="Freeform 74">
                <a:extLst>
                  <a:ext uri="{FF2B5EF4-FFF2-40B4-BE49-F238E27FC236}">
                    <a16:creationId xmlns:a16="http://schemas.microsoft.com/office/drawing/2014/main" id="{E3E09009-CA14-9C92-836C-93084A8A1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75">
                <a:extLst>
                  <a:ext uri="{FF2B5EF4-FFF2-40B4-BE49-F238E27FC236}">
                    <a16:creationId xmlns:a16="http://schemas.microsoft.com/office/drawing/2014/main" id="{B90C6B59-91B7-5293-3662-3D733873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76">
                <a:extLst>
                  <a:ext uri="{FF2B5EF4-FFF2-40B4-BE49-F238E27FC236}">
                    <a16:creationId xmlns:a16="http://schemas.microsoft.com/office/drawing/2014/main" id="{76649792-4BDD-DDD5-3F35-9F608B76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77">
                <a:extLst>
                  <a:ext uri="{FF2B5EF4-FFF2-40B4-BE49-F238E27FC236}">
                    <a16:creationId xmlns:a16="http://schemas.microsoft.com/office/drawing/2014/main" id="{BEBEF6D5-D052-3719-91B4-BF72AB74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78">
                <a:extLst>
                  <a:ext uri="{FF2B5EF4-FFF2-40B4-BE49-F238E27FC236}">
                    <a16:creationId xmlns:a16="http://schemas.microsoft.com/office/drawing/2014/main" id="{917B10B4-4BB6-0E94-5F65-5F880F3FB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79">
                <a:extLst>
                  <a:ext uri="{FF2B5EF4-FFF2-40B4-BE49-F238E27FC236}">
                    <a16:creationId xmlns:a16="http://schemas.microsoft.com/office/drawing/2014/main" id="{A8FE9E41-BDC3-CF28-8937-AA498116F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80">
                <a:extLst>
                  <a:ext uri="{FF2B5EF4-FFF2-40B4-BE49-F238E27FC236}">
                    <a16:creationId xmlns:a16="http://schemas.microsoft.com/office/drawing/2014/main" id="{8D825198-BFDA-F593-9778-A7D5C43E6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81">
                <a:extLst>
                  <a:ext uri="{FF2B5EF4-FFF2-40B4-BE49-F238E27FC236}">
                    <a16:creationId xmlns:a16="http://schemas.microsoft.com/office/drawing/2014/main" id="{B97A9594-1FFA-3511-39E8-58B4D5AA8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82">
                <a:extLst>
                  <a:ext uri="{FF2B5EF4-FFF2-40B4-BE49-F238E27FC236}">
                    <a16:creationId xmlns:a16="http://schemas.microsoft.com/office/drawing/2014/main" id="{793625F6-A791-C268-A46C-E52EFD181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83">
                <a:extLst>
                  <a:ext uri="{FF2B5EF4-FFF2-40B4-BE49-F238E27FC236}">
                    <a16:creationId xmlns:a16="http://schemas.microsoft.com/office/drawing/2014/main" id="{EAACD99A-9E08-5072-852A-E3BB8C757A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5C3C0F2-114C-BB55-D88E-D708E397C893}"/>
              </a:ext>
            </a:extLst>
          </p:cNvPr>
          <p:cNvGrpSpPr/>
          <p:nvPr/>
        </p:nvGrpSpPr>
        <p:grpSpPr>
          <a:xfrm>
            <a:off x="436796" y="2559725"/>
            <a:ext cx="4027254" cy="519541"/>
            <a:chOff x="436796" y="1897381"/>
            <a:chExt cx="4027254" cy="51954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B1DF434-D953-E282-B2F5-FF1DDA198769}"/>
                </a:ext>
              </a:extLst>
            </p:cNvPr>
            <p:cNvGrpSpPr/>
            <p:nvPr/>
          </p:nvGrpSpPr>
          <p:grpSpPr>
            <a:xfrm>
              <a:off x="436796" y="1897381"/>
              <a:ext cx="4027254" cy="519541"/>
              <a:chOff x="428000" y="1851670"/>
              <a:chExt cx="4036050" cy="557221"/>
            </a:xfrm>
          </p:grpSpPr>
          <p:sp>
            <p:nvSpPr>
              <p:cNvPr id="9" name="Text Placeholder 7">
                <a:extLst>
                  <a:ext uri="{FF2B5EF4-FFF2-40B4-BE49-F238E27FC236}">
                    <a16:creationId xmlns:a16="http://schemas.microsoft.com/office/drawing/2014/main" id="{F219E3C2-B9A1-2EEB-7D83-639EF9FD89B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29221" y="1851671"/>
                <a:ext cx="4034829" cy="55722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EC844A"/>
                </a:solidFill>
              </a:ln>
            </p:spPr>
            <p:txBody>
              <a:bodyPr lIns="1097280" tIns="91440" rIns="91440" bIns="91440" anchor="ctr">
                <a:noAutofit/>
              </a:bodyPr>
              <a:lstStyle>
                <a:lvl1pPr marL="0" indent="0" algn="l" defTabSz="685766" rtl="0" eaLnBrk="1" latinLnBrk="0" hangingPunct="1">
                  <a:spcBef>
                    <a:spcPts val="1800"/>
                  </a:spcBef>
                  <a:spcAft>
                    <a:spcPts val="0"/>
                  </a:spcAft>
                  <a:buFont typeface="Arial" pitchFamily="34" charset="0"/>
                  <a:buNone/>
                  <a:defRPr sz="1100" b="1" kern="1200" cap="none" baseline="0">
                    <a:solidFill>
                      <a:srgbClr val="000000"/>
                    </a:solidFill>
                    <a:latin typeface="+mn-lt"/>
                    <a:ea typeface="+mn-ea"/>
                    <a:cs typeface="DWS Sans" panose="02010504010101010104" pitchFamily="50" charset="0"/>
                  </a:defRPr>
                </a:lvl1pPr>
                <a:lvl2pPr marL="0" indent="0" algn="l" defTabSz="685766" rtl="0" eaLnBrk="1" latinLnBrk="0" hangingPunct="1">
                  <a:spcBef>
                    <a:spcPts val="1200"/>
                  </a:spcBef>
                  <a:spcAft>
                    <a:spcPts val="300"/>
                  </a:spcAft>
                  <a:buFont typeface="Arial" pitchFamily="34" charset="0"/>
                  <a:buNone/>
                  <a:tabLst/>
                  <a:defRPr sz="1000" kern="1200">
                    <a:solidFill>
                      <a:srgbClr val="000000"/>
                    </a:solidFill>
                    <a:latin typeface="+mn-lt"/>
                    <a:ea typeface="+mn-ea"/>
                    <a:cs typeface="DWS Sans Light" panose="02010404010101010104" pitchFamily="50" charset="0"/>
                  </a:defRPr>
                </a:lvl2pPr>
                <a:lvl3pPr marL="13716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3pPr>
                <a:lvl4pPr marL="27432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4pPr>
                <a:lvl5pPr marL="41148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5pPr>
                <a:lvl6pPr marL="1885856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300"/>
                  </a:spcAft>
                </a:pPr>
                <a:endParaRPr lang="en-US" sz="1050" dirty="0">
                  <a:solidFill>
                    <a:srgbClr val="EC844A"/>
                  </a:solidFill>
                  <a:latin typeface="DWS Sans" panose="020B0504030101010102" pitchFamily="34" charset="77"/>
                  <a:cs typeface="DWS Sans" panose="020B0504030101010102" pitchFamily="34" charset="77"/>
                </a:endParaRPr>
              </a:p>
            </p:txBody>
          </p:sp>
          <p:sp>
            <p:nvSpPr>
              <p:cNvPr id="10" name="Freeform: Shape 13">
                <a:extLst>
                  <a:ext uri="{FF2B5EF4-FFF2-40B4-BE49-F238E27FC236}">
                    <a16:creationId xmlns:a16="http://schemas.microsoft.com/office/drawing/2014/main" id="{B79D4980-452F-ACD0-A96F-FB4E5FD8F11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8000" y="1851670"/>
                <a:ext cx="729910" cy="324754"/>
              </a:xfrm>
              <a:custGeom>
                <a:avLst/>
                <a:gdLst>
                  <a:gd name="connsiteX0" fmla="*/ 0 w 1645920"/>
                  <a:gd name="connsiteY0" fmla="*/ 0 h 356616"/>
                  <a:gd name="connsiteX1" fmla="*/ 3176 w 1645920"/>
                  <a:gd name="connsiteY1" fmla="*/ 0 h 356616"/>
                  <a:gd name="connsiteX2" fmla="*/ 1331246 w 1645920"/>
                  <a:gd name="connsiteY2" fmla="*/ 0 h 356616"/>
                  <a:gd name="connsiteX3" fmla="*/ 1645920 w 1645920"/>
                  <a:gd name="connsiteY3" fmla="*/ 0 h 356616"/>
                  <a:gd name="connsiteX4" fmla="*/ 1333341 w 1645920"/>
                  <a:gd name="connsiteY4" fmla="*/ 353943 h 356616"/>
                  <a:gd name="connsiteX5" fmla="*/ 1331246 w 1645920"/>
                  <a:gd name="connsiteY5" fmla="*/ 353936 h 356616"/>
                  <a:gd name="connsiteX6" fmla="*/ 1331246 w 1645920"/>
                  <a:gd name="connsiteY6" fmla="*/ 356616 h 356616"/>
                  <a:gd name="connsiteX7" fmla="*/ 0 w 1645920"/>
                  <a:gd name="connsiteY7" fmla="*/ 356616 h 356616"/>
                  <a:gd name="connsiteX0" fmla="*/ 793187 w 1645920"/>
                  <a:gd name="connsiteY0" fmla="*/ 0 h 358490"/>
                  <a:gd name="connsiteX1" fmla="*/ 3176 w 1645920"/>
                  <a:gd name="connsiteY1" fmla="*/ 1874 h 358490"/>
                  <a:gd name="connsiteX2" fmla="*/ 1331246 w 1645920"/>
                  <a:gd name="connsiteY2" fmla="*/ 1874 h 358490"/>
                  <a:gd name="connsiteX3" fmla="*/ 1645920 w 1645920"/>
                  <a:gd name="connsiteY3" fmla="*/ 1874 h 358490"/>
                  <a:gd name="connsiteX4" fmla="*/ 1333341 w 1645920"/>
                  <a:gd name="connsiteY4" fmla="*/ 355817 h 358490"/>
                  <a:gd name="connsiteX5" fmla="*/ 1331246 w 1645920"/>
                  <a:gd name="connsiteY5" fmla="*/ 355810 h 358490"/>
                  <a:gd name="connsiteX6" fmla="*/ 1331246 w 1645920"/>
                  <a:gd name="connsiteY6" fmla="*/ 358490 h 358490"/>
                  <a:gd name="connsiteX7" fmla="*/ 0 w 1645920"/>
                  <a:gd name="connsiteY7" fmla="*/ 358490 h 358490"/>
                  <a:gd name="connsiteX8" fmla="*/ 793187 w 1645920"/>
                  <a:gd name="connsiteY8" fmla="*/ 0 h 358490"/>
                  <a:gd name="connsiteX0" fmla="*/ 790011 w 1642744"/>
                  <a:gd name="connsiteY0" fmla="*/ 0 h 358490"/>
                  <a:gd name="connsiteX1" fmla="*/ 0 w 1642744"/>
                  <a:gd name="connsiteY1" fmla="*/ 1874 h 358490"/>
                  <a:gd name="connsiteX2" fmla="*/ 1328070 w 1642744"/>
                  <a:gd name="connsiteY2" fmla="*/ 1874 h 358490"/>
                  <a:gd name="connsiteX3" fmla="*/ 1642744 w 1642744"/>
                  <a:gd name="connsiteY3" fmla="*/ 1874 h 358490"/>
                  <a:gd name="connsiteX4" fmla="*/ 1330165 w 1642744"/>
                  <a:gd name="connsiteY4" fmla="*/ 355817 h 358490"/>
                  <a:gd name="connsiteX5" fmla="*/ 1328070 w 1642744"/>
                  <a:gd name="connsiteY5" fmla="*/ 355810 h 358490"/>
                  <a:gd name="connsiteX6" fmla="*/ 1328070 w 1642744"/>
                  <a:gd name="connsiteY6" fmla="*/ 358490 h 358490"/>
                  <a:gd name="connsiteX7" fmla="*/ 783419 w 1642744"/>
                  <a:gd name="connsiteY7" fmla="*/ 358490 h 358490"/>
                  <a:gd name="connsiteX8" fmla="*/ 790011 w 1642744"/>
                  <a:gd name="connsiteY8" fmla="*/ 0 h 358490"/>
                  <a:gd name="connsiteX0" fmla="*/ 6592 w 859325"/>
                  <a:gd name="connsiteY0" fmla="*/ 0 h 358490"/>
                  <a:gd name="connsiteX1" fmla="*/ 11965 w 859325"/>
                  <a:gd name="connsiteY1" fmla="*/ 1874 h 358490"/>
                  <a:gd name="connsiteX2" fmla="*/ 544651 w 859325"/>
                  <a:gd name="connsiteY2" fmla="*/ 1874 h 358490"/>
                  <a:gd name="connsiteX3" fmla="*/ 859325 w 859325"/>
                  <a:gd name="connsiteY3" fmla="*/ 1874 h 358490"/>
                  <a:gd name="connsiteX4" fmla="*/ 546746 w 859325"/>
                  <a:gd name="connsiteY4" fmla="*/ 355817 h 358490"/>
                  <a:gd name="connsiteX5" fmla="*/ 544651 w 859325"/>
                  <a:gd name="connsiteY5" fmla="*/ 355810 h 358490"/>
                  <a:gd name="connsiteX6" fmla="*/ 544651 w 859325"/>
                  <a:gd name="connsiteY6" fmla="*/ 358490 h 358490"/>
                  <a:gd name="connsiteX7" fmla="*/ 0 w 859325"/>
                  <a:gd name="connsiteY7" fmla="*/ 358490 h 358490"/>
                  <a:gd name="connsiteX8" fmla="*/ 6592 w 859325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8788 w 852733"/>
                  <a:gd name="connsiteY7" fmla="*/ 358490 h 358490"/>
                  <a:gd name="connsiteX8" fmla="*/ 0 w 852733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2197 w 852733"/>
                  <a:gd name="connsiteY7" fmla="*/ 358490 h 358490"/>
                  <a:gd name="connsiteX8" fmla="*/ 0 w 852733"/>
                  <a:gd name="connsiteY8" fmla="*/ 0 h 358490"/>
                  <a:gd name="connsiteX0" fmla="*/ 17578 w 850536"/>
                  <a:gd name="connsiteY0" fmla="*/ 0 h 358490"/>
                  <a:gd name="connsiteX1" fmla="*/ 3176 w 850536"/>
                  <a:gd name="connsiteY1" fmla="*/ 1874 h 358490"/>
                  <a:gd name="connsiteX2" fmla="*/ 535862 w 850536"/>
                  <a:gd name="connsiteY2" fmla="*/ 1874 h 358490"/>
                  <a:gd name="connsiteX3" fmla="*/ 850536 w 850536"/>
                  <a:gd name="connsiteY3" fmla="*/ 1874 h 358490"/>
                  <a:gd name="connsiteX4" fmla="*/ 537957 w 850536"/>
                  <a:gd name="connsiteY4" fmla="*/ 355817 h 358490"/>
                  <a:gd name="connsiteX5" fmla="*/ 535862 w 850536"/>
                  <a:gd name="connsiteY5" fmla="*/ 355810 h 358490"/>
                  <a:gd name="connsiteX6" fmla="*/ 535862 w 850536"/>
                  <a:gd name="connsiteY6" fmla="*/ 358490 h 358490"/>
                  <a:gd name="connsiteX7" fmla="*/ 0 w 850536"/>
                  <a:gd name="connsiteY7" fmla="*/ 358490 h 358490"/>
                  <a:gd name="connsiteX8" fmla="*/ 17578 w 850536"/>
                  <a:gd name="connsiteY8" fmla="*/ 0 h 358490"/>
                  <a:gd name="connsiteX0" fmla="*/ 0 w 852733"/>
                  <a:gd name="connsiteY0" fmla="*/ 0 h 356616"/>
                  <a:gd name="connsiteX1" fmla="*/ 5373 w 852733"/>
                  <a:gd name="connsiteY1" fmla="*/ 0 h 356616"/>
                  <a:gd name="connsiteX2" fmla="*/ 538059 w 852733"/>
                  <a:gd name="connsiteY2" fmla="*/ 0 h 356616"/>
                  <a:gd name="connsiteX3" fmla="*/ 852733 w 852733"/>
                  <a:gd name="connsiteY3" fmla="*/ 0 h 356616"/>
                  <a:gd name="connsiteX4" fmla="*/ 540154 w 852733"/>
                  <a:gd name="connsiteY4" fmla="*/ 353943 h 356616"/>
                  <a:gd name="connsiteX5" fmla="*/ 538059 w 852733"/>
                  <a:gd name="connsiteY5" fmla="*/ 353936 h 356616"/>
                  <a:gd name="connsiteX6" fmla="*/ 538059 w 852733"/>
                  <a:gd name="connsiteY6" fmla="*/ 356616 h 356616"/>
                  <a:gd name="connsiteX7" fmla="*/ 2197 w 852733"/>
                  <a:gd name="connsiteY7" fmla="*/ 356616 h 356616"/>
                  <a:gd name="connsiteX8" fmla="*/ 0 w 852733"/>
                  <a:gd name="connsiteY8" fmla="*/ 0 h 35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733" h="356616">
                    <a:moveTo>
                      <a:pt x="0" y="0"/>
                    </a:moveTo>
                    <a:lnTo>
                      <a:pt x="5373" y="0"/>
                    </a:lnTo>
                    <a:lnTo>
                      <a:pt x="538059" y="0"/>
                    </a:lnTo>
                    <a:lnTo>
                      <a:pt x="852733" y="0"/>
                    </a:lnTo>
                    <a:lnTo>
                      <a:pt x="540154" y="353943"/>
                    </a:lnTo>
                    <a:lnTo>
                      <a:pt x="538059" y="353936"/>
                    </a:lnTo>
                    <a:lnTo>
                      <a:pt x="538059" y="356616"/>
                    </a:lnTo>
                    <a:lnTo>
                      <a:pt x="2197" y="356616"/>
                    </a:lnTo>
                    <a:cubicBezTo>
                      <a:pt x="2197" y="237744"/>
                      <a:pt x="0" y="118872"/>
                      <a:pt x="0" y="0"/>
                    </a:cubicBezTo>
                    <a:close/>
                  </a:path>
                </a:pathLst>
              </a:custGeom>
              <a:solidFill>
                <a:srgbClr val="EC8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Clr>
                    <a:schemeClr val="bg1"/>
                  </a:buClr>
                </a:pPr>
                <a:endParaRPr lang="en-US" sz="1100" dirty="0">
                  <a:latin typeface="DWS Sans Light" panose="020B0404020101010102" pitchFamily="34" charset="77"/>
                </a:endParaRPr>
              </a:p>
            </p:txBody>
          </p:sp>
        </p:grpSp>
        <p:sp>
          <p:nvSpPr>
            <p:cNvPr id="88" name="Textplatzhalter 4">
              <a:extLst>
                <a:ext uri="{FF2B5EF4-FFF2-40B4-BE49-F238E27FC236}">
                  <a16:creationId xmlns:a16="http://schemas.microsoft.com/office/drawing/2014/main" id="{66756789-29E7-2B0D-8AAE-98D2FBE1B6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197248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Aliquam lorem ante,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dapibus in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viverra qui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43" name="Group 157">
              <a:extLst>
                <a:ext uri="{FF2B5EF4-FFF2-40B4-BE49-F238E27FC236}">
                  <a16:creationId xmlns:a16="http://schemas.microsoft.com/office/drawing/2014/main" id="{0BB8CE0F-602A-6F17-63C7-DF69973745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6474" y="1970036"/>
              <a:ext cx="299103" cy="138214"/>
              <a:chOff x="1152" y="2392"/>
              <a:chExt cx="277" cy="128"/>
            </a:xfrm>
          </p:grpSpPr>
          <p:sp>
            <p:nvSpPr>
              <p:cNvPr id="144" name="Oval 158">
                <a:extLst>
                  <a:ext uri="{FF2B5EF4-FFF2-40B4-BE49-F238E27FC236}">
                    <a16:creationId xmlns:a16="http://schemas.microsoft.com/office/drawing/2014/main" id="{5610FA63-7936-6C71-65B7-6163A3E39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Oval 159">
                <a:extLst>
                  <a:ext uri="{FF2B5EF4-FFF2-40B4-BE49-F238E27FC236}">
                    <a16:creationId xmlns:a16="http://schemas.microsoft.com/office/drawing/2014/main" id="{E4A5AC89-5642-048C-7BB5-0AC4D188B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160">
                <a:extLst>
                  <a:ext uri="{FF2B5EF4-FFF2-40B4-BE49-F238E27FC236}">
                    <a16:creationId xmlns:a16="http://schemas.microsoft.com/office/drawing/2014/main" id="{A11F5145-5757-1852-07BD-3F8E0EAC8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161">
                <a:extLst>
                  <a:ext uri="{FF2B5EF4-FFF2-40B4-BE49-F238E27FC236}">
                    <a16:creationId xmlns:a16="http://schemas.microsoft.com/office/drawing/2014/main" id="{5DFD640D-74BA-C63A-76D9-A99809BC69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162">
                <a:extLst>
                  <a:ext uri="{FF2B5EF4-FFF2-40B4-BE49-F238E27FC236}">
                    <a16:creationId xmlns:a16="http://schemas.microsoft.com/office/drawing/2014/main" id="{B1A929E0-0155-E2EB-62D6-B97CA323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rgbClr val="93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163">
                <a:extLst>
                  <a:ext uri="{FF2B5EF4-FFF2-40B4-BE49-F238E27FC236}">
                    <a16:creationId xmlns:a16="http://schemas.microsoft.com/office/drawing/2014/main" id="{2125F912-5F4F-48F2-3835-547E6DE9E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164">
                <a:extLst>
                  <a:ext uri="{FF2B5EF4-FFF2-40B4-BE49-F238E27FC236}">
                    <a16:creationId xmlns:a16="http://schemas.microsoft.com/office/drawing/2014/main" id="{0C7EC99E-7655-5585-E1DC-A883DC835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" y="2397"/>
                <a:ext cx="59" cy="74"/>
              </a:xfrm>
              <a:custGeom>
                <a:avLst/>
                <a:gdLst>
                  <a:gd name="T0" fmla="*/ 54 w 109"/>
                  <a:gd name="T1" fmla="*/ 59 h 138"/>
                  <a:gd name="T2" fmla="*/ 32 w 109"/>
                  <a:gd name="T3" fmla="*/ 37 h 138"/>
                  <a:gd name="T4" fmla="*/ 54 w 109"/>
                  <a:gd name="T5" fmla="*/ 15 h 138"/>
                  <a:gd name="T6" fmla="*/ 76 w 109"/>
                  <a:gd name="T7" fmla="*/ 37 h 138"/>
                  <a:gd name="T8" fmla="*/ 54 w 109"/>
                  <a:gd name="T9" fmla="*/ 59 h 138"/>
                  <a:gd name="T10" fmla="*/ 109 w 109"/>
                  <a:gd name="T11" fmla="*/ 28 h 138"/>
                  <a:gd name="T12" fmla="*/ 85 w 109"/>
                  <a:gd name="T13" fmla="*/ 28 h 138"/>
                  <a:gd name="T14" fmla="*/ 45 w 109"/>
                  <a:gd name="T15" fmla="*/ 5 h 138"/>
                  <a:gd name="T16" fmla="*/ 23 w 109"/>
                  <a:gd name="T17" fmla="*/ 28 h 138"/>
                  <a:gd name="T18" fmla="*/ 0 w 109"/>
                  <a:gd name="T19" fmla="*/ 28 h 138"/>
                  <a:gd name="T20" fmla="*/ 34 w 109"/>
                  <a:gd name="T21" fmla="*/ 110 h 138"/>
                  <a:gd name="T22" fmla="*/ 30 w 109"/>
                  <a:gd name="T23" fmla="*/ 138 h 138"/>
                  <a:gd name="T24" fmla="*/ 79 w 109"/>
                  <a:gd name="T25" fmla="*/ 138 h 138"/>
                  <a:gd name="T26" fmla="*/ 76 w 109"/>
                  <a:gd name="T27" fmla="*/ 110 h 138"/>
                  <a:gd name="T28" fmla="*/ 109 w 109"/>
                  <a:gd name="T29" fmla="*/ 2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38">
                    <a:moveTo>
                      <a:pt x="54" y="59"/>
                    </a:moveTo>
                    <a:cubicBezTo>
                      <a:pt x="42" y="59"/>
                      <a:pt x="32" y="49"/>
                      <a:pt x="32" y="37"/>
                    </a:cubicBezTo>
                    <a:cubicBezTo>
                      <a:pt x="32" y="25"/>
                      <a:pt x="42" y="15"/>
                      <a:pt x="54" y="15"/>
                    </a:cubicBezTo>
                    <a:cubicBezTo>
                      <a:pt x="66" y="15"/>
                      <a:pt x="76" y="25"/>
                      <a:pt x="76" y="37"/>
                    </a:cubicBezTo>
                    <a:cubicBezTo>
                      <a:pt x="76" y="49"/>
                      <a:pt x="66" y="59"/>
                      <a:pt x="54" y="59"/>
                    </a:cubicBezTo>
                    <a:moveTo>
                      <a:pt x="109" y="28"/>
                    </a:moveTo>
                    <a:cubicBezTo>
                      <a:pt x="85" y="28"/>
                      <a:pt x="85" y="28"/>
                      <a:pt x="85" y="28"/>
                    </a:cubicBezTo>
                    <a:cubicBezTo>
                      <a:pt x="80" y="10"/>
                      <a:pt x="62" y="0"/>
                      <a:pt x="45" y="5"/>
                    </a:cubicBezTo>
                    <a:cubicBezTo>
                      <a:pt x="34" y="9"/>
                      <a:pt x="26" y="17"/>
                      <a:pt x="23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2" y="50"/>
                      <a:pt x="34" y="79"/>
                      <a:pt x="34" y="110"/>
                    </a:cubicBezTo>
                    <a:cubicBezTo>
                      <a:pt x="34" y="120"/>
                      <a:pt x="33" y="129"/>
                      <a:pt x="30" y="138"/>
                    </a:cubicBezTo>
                    <a:cubicBezTo>
                      <a:pt x="46" y="133"/>
                      <a:pt x="63" y="133"/>
                      <a:pt x="79" y="138"/>
                    </a:cubicBezTo>
                    <a:cubicBezTo>
                      <a:pt x="77" y="129"/>
                      <a:pt x="76" y="120"/>
                      <a:pt x="76" y="110"/>
                    </a:cubicBezTo>
                    <a:cubicBezTo>
                      <a:pt x="76" y="79"/>
                      <a:pt x="88" y="50"/>
                      <a:pt x="109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130F43-3635-5DEE-3091-E107EB70B280}"/>
              </a:ext>
            </a:extLst>
          </p:cNvPr>
          <p:cNvGrpSpPr/>
          <p:nvPr/>
        </p:nvGrpSpPr>
        <p:grpSpPr>
          <a:xfrm>
            <a:off x="4684946" y="3225091"/>
            <a:ext cx="4027254" cy="519540"/>
            <a:chOff x="4684946" y="3225091"/>
            <a:chExt cx="4027254" cy="519540"/>
          </a:xfrm>
        </p:grpSpPr>
        <p:sp>
          <p:nvSpPr>
            <p:cNvPr id="79" name="Text Placeholder 7">
              <a:extLst>
                <a:ext uri="{FF2B5EF4-FFF2-40B4-BE49-F238E27FC236}">
                  <a16:creationId xmlns:a16="http://schemas.microsoft.com/office/drawing/2014/main" id="{B234CD07-FC5B-9357-7120-730A5044D16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0" name="Freeform: Shape 13">
              <a:extLst>
                <a:ext uri="{FF2B5EF4-FFF2-40B4-BE49-F238E27FC236}">
                  <a16:creationId xmlns:a16="http://schemas.microsoft.com/office/drawing/2014/main" id="{5A976A29-F01E-C6AF-CFD3-5397BF564F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3" name="Textplatzhalter 4">
              <a:extLst>
                <a:ext uri="{FF2B5EF4-FFF2-40B4-BE49-F238E27FC236}">
                  <a16:creationId xmlns:a16="http://schemas.microsoft.com/office/drawing/2014/main" id="{5A74B075-83E7-72FD-15A6-9F0621534EF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3392528"/>
              <a:ext cx="306008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luctus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pulvinar,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hendreri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id,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lorem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63CE69D-4384-2AD4-56D2-745105DA2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23843" y="3274319"/>
              <a:ext cx="208382" cy="208382"/>
            </a:xfrm>
            <a:prstGeom prst="rect">
              <a:avLst/>
            </a:prstGeom>
          </p:spPr>
        </p:pic>
      </p:grpSp>
      <p:sp>
        <p:nvSpPr>
          <p:cNvPr id="18" name="Foliennummernplatzhalter 3">
            <a:extLst>
              <a:ext uri="{FF2B5EF4-FFF2-40B4-BE49-F238E27FC236}">
                <a16:creationId xmlns:a16="http://schemas.microsoft.com/office/drawing/2014/main" id="{663F0404-1B54-E37B-F522-01E6AF358A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2108ED-DFF2-899F-B3F3-FD1144B89FD7}"/>
              </a:ext>
            </a:extLst>
          </p:cNvPr>
          <p:cNvGrpSpPr/>
          <p:nvPr/>
        </p:nvGrpSpPr>
        <p:grpSpPr>
          <a:xfrm>
            <a:off x="0" y="1203324"/>
            <a:ext cx="4839077" cy="1003953"/>
            <a:chOff x="0" y="1203324"/>
            <a:chExt cx="4839077" cy="100395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A0DEBD-65FE-5F3C-2CB1-85A51EFC6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03324"/>
              <a:ext cx="4839077" cy="1003953"/>
            </a:xfrm>
            <a:custGeom>
              <a:avLst/>
              <a:gdLst>
                <a:gd name="connsiteX0" fmla="*/ 0 w 4839077"/>
                <a:gd name="connsiteY0" fmla="*/ 0 h 1003953"/>
                <a:gd name="connsiteX1" fmla="*/ 72609 w 4839077"/>
                <a:gd name="connsiteY1" fmla="*/ 0 h 1003953"/>
                <a:gd name="connsiteX2" fmla="*/ 87827 w 4839077"/>
                <a:gd name="connsiteY2" fmla="*/ 0 h 1003953"/>
                <a:gd name="connsiteX3" fmla="*/ 94812 w 4839077"/>
                <a:gd name="connsiteY3" fmla="*/ 0 h 1003953"/>
                <a:gd name="connsiteX4" fmla="*/ 403163 w 4839077"/>
                <a:gd name="connsiteY4" fmla="*/ 0 h 1003953"/>
                <a:gd name="connsiteX5" fmla="*/ 606248 w 4839077"/>
                <a:gd name="connsiteY5" fmla="*/ 0 h 1003953"/>
                <a:gd name="connsiteX6" fmla="*/ 650859 w 4839077"/>
                <a:gd name="connsiteY6" fmla="*/ 0 h 1003953"/>
                <a:gd name="connsiteX7" fmla="*/ 723783 w 4839077"/>
                <a:gd name="connsiteY7" fmla="*/ 0 h 1003953"/>
                <a:gd name="connsiteX8" fmla="*/ 740465 w 4839077"/>
                <a:gd name="connsiteY8" fmla="*/ 0 h 1003953"/>
                <a:gd name="connsiteX9" fmla="*/ 797390 w 4839077"/>
                <a:gd name="connsiteY9" fmla="*/ 0 h 1003953"/>
                <a:gd name="connsiteX10" fmla="*/ 813074 w 4839077"/>
                <a:gd name="connsiteY10" fmla="*/ 0 h 1003953"/>
                <a:gd name="connsiteX11" fmla="*/ 828292 w 4839077"/>
                <a:gd name="connsiteY11" fmla="*/ 0 h 1003953"/>
                <a:gd name="connsiteX12" fmla="*/ 835277 w 4839077"/>
                <a:gd name="connsiteY12" fmla="*/ 0 h 1003953"/>
                <a:gd name="connsiteX13" fmla="*/ 869999 w 4839077"/>
                <a:gd name="connsiteY13" fmla="*/ 0 h 1003953"/>
                <a:gd name="connsiteX14" fmla="*/ 885217 w 4839077"/>
                <a:gd name="connsiteY14" fmla="*/ 0 h 1003953"/>
                <a:gd name="connsiteX15" fmla="*/ 892202 w 4839077"/>
                <a:gd name="connsiteY15" fmla="*/ 0 h 1003953"/>
                <a:gd name="connsiteX16" fmla="*/ 985929 w 4839077"/>
                <a:gd name="connsiteY16" fmla="*/ 0 h 1003953"/>
                <a:gd name="connsiteX17" fmla="*/ 1081264 w 4839077"/>
                <a:gd name="connsiteY17" fmla="*/ 0 h 1003953"/>
                <a:gd name="connsiteX18" fmla="*/ 1096479 w 4839077"/>
                <a:gd name="connsiteY18" fmla="*/ 0 h 1003953"/>
                <a:gd name="connsiteX19" fmla="*/ 1143628 w 4839077"/>
                <a:gd name="connsiteY19" fmla="*/ 0 h 1003953"/>
                <a:gd name="connsiteX20" fmla="*/ 1200553 w 4839077"/>
                <a:gd name="connsiteY20" fmla="*/ 0 h 1003953"/>
                <a:gd name="connsiteX21" fmla="*/ 1294279 w 4839077"/>
                <a:gd name="connsiteY21" fmla="*/ 0 h 1003953"/>
                <a:gd name="connsiteX22" fmla="*/ 1346713 w 4839077"/>
                <a:gd name="connsiteY22" fmla="*/ 0 h 1003953"/>
                <a:gd name="connsiteX23" fmla="*/ 1391324 w 4839077"/>
                <a:gd name="connsiteY23" fmla="*/ 0 h 1003953"/>
                <a:gd name="connsiteX24" fmla="*/ 1403638 w 4839077"/>
                <a:gd name="connsiteY24" fmla="*/ 0 h 1003953"/>
                <a:gd name="connsiteX25" fmla="*/ 1448249 w 4839077"/>
                <a:gd name="connsiteY25" fmla="*/ 0 h 1003953"/>
                <a:gd name="connsiteX26" fmla="*/ 1464248 w 4839077"/>
                <a:gd name="connsiteY26" fmla="*/ 0 h 1003953"/>
                <a:gd name="connsiteX27" fmla="*/ 1521173 w 4839077"/>
                <a:gd name="connsiteY27" fmla="*/ 0 h 1003953"/>
                <a:gd name="connsiteX28" fmla="*/ 1537855 w 4839077"/>
                <a:gd name="connsiteY28" fmla="*/ 0 h 1003953"/>
                <a:gd name="connsiteX29" fmla="*/ 1596329 w 4839077"/>
                <a:gd name="connsiteY29" fmla="*/ 0 h 1003953"/>
                <a:gd name="connsiteX30" fmla="*/ 1610464 w 4839077"/>
                <a:gd name="connsiteY30" fmla="*/ 0 h 1003953"/>
                <a:gd name="connsiteX31" fmla="*/ 1614900 w 4839077"/>
                <a:gd name="connsiteY31" fmla="*/ 0 h 1003953"/>
                <a:gd name="connsiteX32" fmla="*/ 1625682 w 4839077"/>
                <a:gd name="connsiteY32" fmla="*/ 0 h 1003953"/>
                <a:gd name="connsiteX33" fmla="*/ 1632667 w 4839077"/>
                <a:gd name="connsiteY33" fmla="*/ 0 h 1003953"/>
                <a:gd name="connsiteX34" fmla="*/ 1726393 w 4839077"/>
                <a:gd name="connsiteY34" fmla="*/ 0 h 1003953"/>
                <a:gd name="connsiteX35" fmla="*/ 1783319 w 4839077"/>
                <a:gd name="connsiteY35" fmla="*/ 0 h 1003953"/>
                <a:gd name="connsiteX36" fmla="*/ 1821729 w 4839077"/>
                <a:gd name="connsiteY36" fmla="*/ 0 h 1003953"/>
                <a:gd name="connsiteX37" fmla="*/ 1836944 w 4839077"/>
                <a:gd name="connsiteY37" fmla="*/ 0 h 1003953"/>
                <a:gd name="connsiteX38" fmla="*/ 1878654 w 4839077"/>
                <a:gd name="connsiteY38" fmla="*/ 0 h 1003953"/>
                <a:gd name="connsiteX39" fmla="*/ 1893869 w 4839077"/>
                <a:gd name="connsiteY39" fmla="*/ 0 h 1003953"/>
                <a:gd name="connsiteX40" fmla="*/ 1941018 w 4839077"/>
                <a:gd name="connsiteY40" fmla="*/ 0 h 1003953"/>
                <a:gd name="connsiteX41" fmla="*/ 2034744 w 4839077"/>
                <a:gd name="connsiteY41" fmla="*/ 0 h 1003953"/>
                <a:gd name="connsiteX42" fmla="*/ 2091669 w 4839077"/>
                <a:gd name="connsiteY42" fmla="*/ 0 h 1003953"/>
                <a:gd name="connsiteX43" fmla="*/ 2144103 w 4839077"/>
                <a:gd name="connsiteY43" fmla="*/ 0 h 1003953"/>
                <a:gd name="connsiteX44" fmla="*/ 2188714 w 4839077"/>
                <a:gd name="connsiteY44" fmla="*/ 0 h 1003953"/>
                <a:gd name="connsiteX45" fmla="*/ 2261638 w 4839077"/>
                <a:gd name="connsiteY45" fmla="*/ 0 h 1003953"/>
                <a:gd name="connsiteX46" fmla="*/ 2336793 w 4839077"/>
                <a:gd name="connsiteY46" fmla="*/ 0 h 1003953"/>
                <a:gd name="connsiteX47" fmla="*/ 2355365 w 4839077"/>
                <a:gd name="connsiteY47" fmla="*/ 0 h 1003953"/>
                <a:gd name="connsiteX48" fmla="*/ 2393719 w 4839077"/>
                <a:gd name="connsiteY48" fmla="*/ 0 h 1003953"/>
                <a:gd name="connsiteX49" fmla="*/ 2412290 w 4839077"/>
                <a:gd name="connsiteY49" fmla="*/ 0 h 1003953"/>
                <a:gd name="connsiteX50" fmla="*/ 2487446 w 4839077"/>
                <a:gd name="connsiteY50" fmla="*/ 0 h 1003953"/>
                <a:gd name="connsiteX51" fmla="*/ 2523784 w 4839077"/>
                <a:gd name="connsiteY51" fmla="*/ 0 h 1003953"/>
                <a:gd name="connsiteX52" fmla="*/ 2604981 w 4839077"/>
                <a:gd name="connsiteY52" fmla="*/ 0 h 1003953"/>
                <a:gd name="connsiteX53" fmla="*/ 2619119 w 4839077"/>
                <a:gd name="connsiteY53" fmla="*/ 0 h 1003953"/>
                <a:gd name="connsiteX54" fmla="*/ 2634334 w 4839077"/>
                <a:gd name="connsiteY54" fmla="*/ 0 h 1003953"/>
                <a:gd name="connsiteX55" fmla="*/ 2832134 w 4839077"/>
                <a:gd name="connsiteY55" fmla="*/ 0 h 1003953"/>
                <a:gd name="connsiteX56" fmla="*/ 3134183 w 4839077"/>
                <a:gd name="connsiteY56" fmla="*/ 0 h 1003953"/>
                <a:gd name="connsiteX57" fmla="*/ 3152755 w 4839077"/>
                <a:gd name="connsiteY57" fmla="*/ 0 h 1003953"/>
                <a:gd name="connsiteX58" fmla="*/ 3227911 w 4839077"/>
                <a:gd name="connsiteY58" fmla="*/ 0 h 1003953"/>
                <a:gd name="connsiteX59" fmla="*/ 3284836 w 4839077"/>
                <a:gd name="connsiteY59" fmla="*/ 0 h 1003953"/>
                <a:gd name="connsiteX60" fmla="*/ 3345446 w 4839077"/>
                <a:gd name="connsiteY60" fmla="*/ 0 h 1003953"/>
                <a:gd name="connsiteX61" fmla="*/ 3402371 w 4839077"/>
                <a:gd name="connsiteY61" fmla="*/ 0 h 1003953"/>
                <a:gd name="connsiteX62" fmla="*/ 4025301 w 4839077"/>
                <a:gd name="connsiteY62" fmla="*/ 0 h 1003953"/>
                <a:gd name="connsiteX63" fmla="*/ 4142836 w 4839077"/>
                <a:gd name="connsiteY63" fmla="*/ 0 h 1003953"/>
                <a:gd name="connsiteX64" fmla="*/ 4839077 w 4839077"/>
                <a:gd name="connsiteY64" fmla="*/ 10645 h 1003953"/>
                <a:gd name="connsiteX65" fmla="*/ 3849766 w 4839077"/>
                <a:gd name="connsiteY65" fmla="*/ 1003953 h 1003953"/>
                <a:gd name="connsiteX66" fmla="*/ 3134183 w 4839077"/>
                <a:gd name="connsiteY66" fmla="*/ 1003953 h 1003953"/>
                <a:gd name="connsiteX67" fmla="*/ 3109301 w 4839077"/>
                <a:gd name="connsiteY67" fmla="*/ 1003953 h 1003953"/>
                <a:gd name="connsiteX68" fmla="*/ 3052376 w 4839077"/>
                <a:gd name="connsiteY68" fmla="*/ 1003953 h 1003953"/>
                <a:gd name="connsiteX69" fmla="*/ 2625340 w 4839077"/>
                <a:gd name="connsiteY69" fmla="*/ 1003953 h 1003953"/>
                <a:gd name="connsiteX70" fmla="*/ 2393719 w 4839077"/>
                <a:gd name="connsiteY70" fmla="*/ 1003953 h 1003953"/>
                <a:gd name="connsiteX71" fmla="*/ 2336793 w 4839077"/>
                <a:gd name="connsiteY71" fmla="*/ 1003953 h 1003953"/>
                <a:gd name="connsiteX72" fmla="*/ 2311911 w 4839077"/>
                <a:gd name="connsiteY72" fmla="*/ 1003953 h 1003953"/>
                <a:gd name="connsiteX73" fmla="*/ 2261638 w 4839077"/>
                <a:gd name="connsiteY73" fmla="*/ 1003953 h 1003953"/>
                <a:gd name="connsiteX74" fmla="*/ 1941018 w 4839077"/>
                <a:gd name="connsiteY74" fmla="*/ 1003953 h 1003953"/>
                <a:gd name="connsiteX75" fmla="*/ 1884875 w 4839077"/>
                <a:gd name="connsiteY75" fmla="*/ 1003953 h 1003953"/>
                <a:gd name="connsiteX76" fmla="*/ 1827950 w 4839077"/>
                <a:gd name="connsiteY76" fmla="*/ 1003953 h 1003953"/>
                <a:gd name="connsiteX77" fmla="*/ 1632667 w 4839077"/>
                <a:gd name="connsiteY77" fmla="*/ 1003953 h 1003953"/>
                <a:gd name="connsiteX78" fmla="*/ 1616686 w 4839077"/>
                <a:gd name="connsiteY78" fmla="*/ 1003953 h 1003953"/>
                <a:gd name="connsiteX79" fmla="*/ 1596329 w 4839077"/>
                <a:gd name="connsiteY79" fmla="*/ 1003953 h 1003953"/>
                <a:gd name="connsiteX80" fmla="*/ 1537855 w 4839077"/>
                <a:gd name="connsiteY80" fmla="*/ 1003953 h 1003953"/>
                <a:gd name="connsiteX81" fmla="*/ 1521173 w 4839077"/>
                <a:gd name="connsiteY81" fmla="*/ 1003953 h 1003953"/>
                <a:gd name="connsiteX82" fmla="*/ 1464248 w 4839077"/>
                <a:gd name="connsiteY82" fmla="*/ 1003953 h 1003953"/>
                <a:gd name="connsiteX83" fmla="*/ 1200553 w 4839077"/>
                <a:gd name="connsiteY83" fmla="*/ 1003953 h 1003953"/>
                <a:gd name="connsiteX84" fmla="*/ 1143628 w 4839077"/>
                <a:gd name="connsiteY84" fmla="*/ 1003953 h 1003953"/>
                <a:gd name="connsiteX85" fmla="*/ 1087485 w 4839077"/>
                <a:gd name="connsiteY85" fmla="*/ 1003953 h 1003953"/>
                <a:gd name="connsiteX86" fmla="*/ 892202 w 4839077"/>
                <a:gd name="connsiteY86" fmla="*/ 1003953 h 1003953"/>
                <a:gd name="connsiteX87" fmla="*/ 876221 w 4839077"/>
                <a:gd name="connsiteY87" fmla="*/ 1003953 h 1003953"/>
                <a:gd name="connsiteX88" fmla="*/ 835277 w 4839077"/>
                <a:gd name="connsiteY88" fmla="*/ 1003953 h 1003953"/>
                <a:gd name="connsiteX89" fmla="*/ 819296 w 4839077"/>
                <a:gd name="connsiteY89" fmla="*/ 1003953 h 1003953"/>
                <a:gd name="connsiteX90" fmla="*/ 797390 w 4839077"/>
                <a:gd name="connsiteY90" fmla="*/ 1003953 h 1003953"/>
                <a:gd name="connsiteX91" fmla="*/ 740465 w 4839077"/>
                <a:gd name="connsiteY91" fmla="*/ 1003953 h 1003953"/>
                <a:gd name="connsiteX92" fmla="*/ 723783 w 4839077"/>
                <a:gd name="connsiteY92" fmla="*/ 1003953 h 1003953"/>
                <a:gd name="connsiteX93" fmla="*/ 403163 w 4839077"/>
                <a:gd name="connsiteY93" fmla="*/ 1003953 h 1003953"/>
                <a:gd name="connsiteX94" fmla="*/ 94812 w 4839077"/>
                <a:gd name="connsiteY94" fmla="*/ 1003953 h 1003953"/>
                <a:gd name="connsiteX95" fmla="*/ 78831 w 4839077"/>
                <a:gd name="connsiteY95" fmla="*/ 1003953 h 1003953"/>
                <a:gd name="connsiteX96" fmla="*/ 0 w 4839077"/>
                <a:gd name="connsiteY96" fmla="*/ 1003953 h 100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4839077" h="1003953">
                  <a:moveTo>
                    <a:pt x="0" y="0"/>
                  </a:moveTo>
                  <a:lnTo>
                    <a:pt x="72609" y="0"/>
                  </a:lnTo>
                  <a:lnTo>
                    <a:pt x="87827" y="0"/>
                  </a:lnTo>
                  <a:lnTo>
                    <a:pt x="94812" y="0"/>
                  </a:lnTo>
                  <a:lnTo>
                    <a:pt x="403163" y="0"/>
                  </a:lnTo>
                  <a:lnTo>
                    <a:pt x="606248" y="0"/>
                  </a:lnTo>
                  <a:lnTo>
                    <a:pt x="650859" y="0"/>
                  </a:lnTo>
                  <a:lnTo>
                    <a:pt x="723783" y="0"/>
                  </a:lnTo>
                  <a:lnTo>
                    <a:pt x="740465" y="0"/>
                  </a:lnTo>
                  <a:lnTo>
                    <a:pt x="797390" y="0"/>
                  </a:lnTo>
                  <a:lnTo>
                    <a:pt x="813074" y="0"/>
                  </a:lnTo>
                  <a:lnTo>
                    <a:pt x="828292" y="0"/>
                  </a:lnTo>
                  <a:lnTo>
                    <a:pt x="835277" y="0"/>
                  </a:lnTo>
                  <a:lnTo>
                    <a:pt x="869999" y="0"/>
                  </a:lnTo>
                  <a:lnTo>
                    <a:pt x="885217" y="0"/>
                  </a:lnTo>
                  <a:lnTo>
                    <a:pt x="892202" y="0"/>
                  </a:lnTo>
                  <a:lnTo>
                    <a:pt x="985929" y="0"/>
                  </a:lnTo>
                  <a:lnTo>
                    <a:pt x="1081264" y="0"/>
                  </a:lnTo>
                  <a:lnTo>
                    <a:pt x="1096479" y="0"/>
                  </a:lnTo>
                  <a:lnTo>
                    <a:pt x="1143628" y="0"/>
                  </a:lnTo>
                  <a:lnTo>
                    <a:pt x="1200553" y="0"/>
                  </a:lnTo>
                  <a:lnTo>
                    <a:pt x="1294279" y="0"/>
                  </a:lnTo>
                  <a:lnTo>
                    <a:pt x="1346713" y="0"/>
                  </a:lnTo>
                  <a:lnTo>
                    <a:pt x="1391324" y="0"/>
                  </a:lnTo>
                  <a:lnTo>
                    <a:pt x="1403638" y="0"/>
                  </a:lnTo>
                  <a:lnTo>
                    <a:pt x="1448249" y="0"/>
                  </a:lnTo>
                  <a:lnTo>
                    <a:pt x="1464248" y="0"/>
                  </a:lnTo>
                  <a:lnTo>
                    <a:pt x="1521173" y="0"/>
                  </a:lnTo>
                  <a:lnTo>
                    <a:pt x="1537855" y="0"/>
                  </a:lnTo>
                  <a:lnTo>
                    <a:pt x="1596329" y="0"/>
                  </a:lnTo>
                  <a:lnTo>
                    <a:pt x="1610464" y="0"/>
                  </a:lnTo>
                  <a:lnTo>
                    <a:pt x="1614900" y="0"/>
                  </a:lnTo>
                  <a:lnTo>
                    <a:pt x="1625682" y="0"/>
                  </a:lnTo>
                  <a:lnTo>
                    <a:pt x="1632667" y="0"/>
                  </a:lnTo>
                  <a:lnTo>
                    <a:pt x="1726393" y="0"/>
                  </a:lnTo>
                  <a:lnTo>
                    <a:pt x="1783319" y="0"/>
                  </a:lnTo>
                  <a:lnTo>
                    <a:pt x="1821729" y="0"/>
                  </a:lnTo>
                  <a:lnTo>
                    <a:pt x="1836944" y="0"/>
                  </a:lnTo>
                  <a:lnTo>
                    <a:pt x="1878654" y="0"/>
                  </a:lnTo>
                  <a:lnTo>
                    <a:pt x="1893869" y="0"/>
                  </a:lnTo>
                  <a:lnTo>
                    <a:pt x="1941018" y="0"/>
                  </a:lnTo>
                  <a:lnTo>
                    <a:pt x="2034744" y="0"/>
                  </a:lnTo>
                  <a:lnTo>
                    <a:pt x="2091669" y="0"/>
                  </a:lnTo>
                  <a:lnTo>
                    <a:pt x="2144103" y="0"/>
                  </a:lnTo>
                  <a:lnTo>
                    <a:pt x="2188714" y="0"/>
                  </a:lnTo>
                  <a:lnTo>
                    <a:pt x="2261638" y="0"/>
                  </a:lnTo>
                  <a:lnTo>
                    <a:pt x="2336793" y="0"/>
                  </a:lnTo>
                  <a:lnTo>
                    <a:pt x="2355365" y="0"/>
                  </a:lnTo>
                  <a:lnTo>
                    <a:pt x="2393719" y="0"/>
                  </a:lnTo>
                  <a:lnTo>
                    <a:pt x="2412290" y="0"/>
                  </a:lnTo>
                  <a:lnTo>
                    <a:pt x="2487446" y="0"/>
                  </a:lnTo>
                  <a:lnTo>
                    <a:pt x="2523784" y="0"/>
                  </a:lnTo>
                  <a:lnTo>
                    <a:pt x="2604981" y="0"/>
                  </a:lnTo>
                  <a:lnTo>
                    <a:pt x="2619119" y="0"/>
                  </a:lnTo>
                  <a:lnTo>
                    <a:pt x="2634334" y="0"/>
                  </a:lnTo>
                  <a:lnTo>
                    <a:pt x="2832134" y="0"/>
                  </a:lnTo>
                  <a:lnTo>
                    <a:pt x="3134183" y="0"/>
                  </a:lnTo>
                  <a:lnTo>
                    <a:pt x="3152755" y="0"/>
                  </a:lnTo>
                  <a:lnTo>
                    <a:pt x="3227911" y="0"/>
                  </a:lnTo>
                  <a:lnTo>
                    <a:pt x="3284836" y="0"/>
                  </a:lnTo>
                  <a:lnTo>
                    <a:pt x="3345446" y="0"/>
                  </a:lnTo>
                  <a:lnTo>
                    <a:pt x="3402371" y="0"/>
                  </a:lnTo>
                  <a:lnTo>
                    <a:pt x="4025301" y="0"/>
                  </a:lnTo>
                  <a:lnTo>
                    <a:pt x="4142836" y="0"/>
                  </a:lnTo>
                  <a:lnTo>
                    <a:pt x="4839077" y="10645"/>
                  </a:lnTo>
                  <a:lnTo>
                    <a:pt x="3849766" y="1003953"/>
                  </a:lnTo>
                  <a:lnTo>
                    <a:pt x="3134183" y="1003953"/>
                  </a:lnTo>
                  <a:lnTo>
                    <a:pt x="3109301" y="1003953"/>
                  </a:lnTo>
                  <a:lnTo>
                    <a:pt x="3052376" y="1003953"/>
                  </a:lnTo>
                  <a:lnTo>
                    <a:pt x="2625340" y="1003953"/>
                  </a:lnTo>
                  <a:lnTo>
                    <a:pt x="2393719" y="1003953"/>
                  </a:lnTo>
                  <a:lnTo>
                    <a:pt x="2336793" y="1003953"/>
                  </a:lnTo>
                  <a:lnTo>
                    <a:pt x="2311911" y="1003953"/>
                  </a:lnTo>
                  <a:lnTo>
                    <a:pt x="2261638" y="1003953"/>
                  </a:lnTo>
                  <a:lnTo>
                    <a:pt x="1941018" y="1003953"/>
                  </a:lnTo>
                  <a:lnTo>
                    <a:pt x="1884875" y="1003953"/>
                  </a:lnTo>
                  <a:lnTo>
                    <a:pt x="1827950" y="1003953"/>
                  </a:lnTo>
                  <a:lnTo>
                    <a:pt x="1632667" y="1003953"/>
                  </a:lnTo>
                  <a:lnTo>
                    <a:pt x="1616686" y="1003953"/>
                  </a:lnTo>
                  <a:lnTo>
                    <a:pt x="1596329" y="1003953"/>
                  </a:lnTo>
                  <a:lnTo>
                    <a:pt x="1537855" y="1003953"/>
                  </a:lnTo>
                  <a:lnTo>
                    <a:pt x="1521173" y="1003953"/>
                  </a:lnTo>
                  <a:lnTo>
                    <a:pt x="1464248" y="1003953"/>
                  </a:lnTo>
                  <a:lnTo>
                    <a:pt x="1200553" y="1003953"/>
                  </a:lnTo>
                  <a:lnTo>
                    <a:pt x="1143628" y="1003953"/>
                  </a:lnTo>
                  <a:lnTo>
                    <a:pt x="1087485" y="1003953"/>
                  </a:lnTo>
                  <a:lnTo>
                    <a:pt x="892202" y="1003953"/>
                  </a:lnTo>
                  <a:lnTo>
                    <a:pt x="876221" y="1003953"/>
                  </a:lnTo>
                  <a:lnTo>
                    <a:pt x="835277" y="1003953"/>
                  </a:lnTo>
                  <a:lnTo>
                    <a:pt x="819296" y="1003953"/>
                  </a:lnTo>
                  <a:lnTo>
                    <a:pt x="797390" y="1003953"/>
                  </a:lnTo>
                  <a:lnTo>
                    <a:pt x="740465" y="1003953"/>
                  </a:lnTo>
                  <a:lnTo>
                    <a:pt x="723783" y="1003953"/>
                  </a:lnTo>
                  <a:lnTo>
                    <a:pt x="403163" y="1003953"/>
                  </a:lnTo>
                  <a:lnTo>
                    <a:pt x="94812" y="1003953"/>
                  </a:lnTo>
                  <a:lnTo>
                    <a:pt x="78831" y="1003953"/>
                  </a:lnTo>
                  <a:lnTo>
                    <a:pt x="0" y="1003953"/>
                  </a:lnTo>
                  <a:close/>
                </a:path>
              </a:pathLst>
            </a:custGeom>
            <a:pattFill prst="wdUpDiag">
              <a:fgClr>
                <a:srgbClr val="93949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A71894C-774B-6D11-3F1B-2546B36522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74906"/>
              <a:ext cx="4622585" cy="860789"/>
            </a:xfrm>
            <a:custGeom>
              <a:avLst/>
              <a:gdLst>
                <a:gd name="connsiteX0" fmla="*/ 0 w 4622585"/>
                <a:gd name="connsiteY0" fmla="*/ 0 h 860789"/>
                <a:gd name="connsiteX1" fmla="*/ 62255 w 4622585"/>
                <a:gd name="connsiteY1" fmla="*/ 0 h 860789"/>
                <a:gd name="connsiteX2" fmla="*/ 75302 w 4622585"/>
                <a:gd name="connsiteY2" fmla="*/ 0 h 860789"/>
                <a:gd name="connsiteX3" fmla="*/ 81291 w 4622585"/>
                <a:gd name="connsiteY3" fmla="*/ 0 h 860789"/>
                <a:gd name="connsiteX4" fmla="*/ 345672 w 4622585"/>
                <a:gd name="connsiteY4" fmla="*/ 0 h 860789"/>
                <a:gd name="connsiteX5" fmla="*/ 401667 w 4622585"/>
                <a:gd name="connsiteY5" fmla="*/ 0 h 860789"/>
                <a:gd name="connsiteX6" fmla="*/ 463922 w 4622585"/>
                <a:gd name="connsiteY6" fmla="*/ 0 h 860789"/>
                <a:gd name="connsiteX7" fmla="*/ 476970 w 4622585"/>
                <a:gd name="connsiteY7" fmla="*/ 0 h 860789"/>
                <a:gd name="connsiteX8" fmla="*/ 482958 w 4622585"/>
                <a:gd name="connsiteY8" fmla="*/ 0 h 860789"/>
                <a:gd name="connsiteX9" fmla="*/ 519797 w 4622585"/>
                <a:gd name="connsiteY9" fmla="*/ 0 h 860789"/>
                <a:gd name="connsiteX10" fmla="*/ 558046 w 4622585"/>
                <a:gd name="connsiteY10" fmla="*/ 0 h 860789"/>
                <a:gd name="connsiteX11" fmla="*/ 620571 w 4622585"/>
                <a:gd name="connsiteY11" fmla="*/ 0 h 860789"/>
                <a:gd name="connsiteX12" fmla="*/ 634875 w 4622585"/>
                <a:gd name="connsiteY12" fmla="*/ 0 h 860789"/>
                <a:gd name="connsiteX13" fmla="*/ 697130 w 4622585"/>
                <a:gd name="connsiteY13" fmla="*/ 0 h 860789"/>
                <a:gd name="connsiteX14" fmla="*/ 710178 w 4622585"/>
                <a:gd name="connsiteY14" fmla="*/ 0 h 860789"/>
                <a:gd name="connsiteX15" fmla="*/ 716167 w 4622585"/>
                <a:gd name="connsiteY15" fmla="*/ 0 h 860789"/>
                <a:gd name="connsiteX16" fmla="*/ 747339 w 4622585"/>
                <a:gd name="connsiteY16" fmla="*/ 0 h 860789"/>
                <a:gd name="connsiteX17" fmla="*/ 755576 w 4622585"/>
                <a:gd name="connsiteY17" fmla="*/ 0 h 860789"/>
                <a:gd name="connsiteX18" fmla="*/ 817831 w 4622585"/>
                <a:gd name="connsiteY18" fmla="*/ 0 h 860789"/>
                <a:gd name="connsiteX19" fmla="*/ 830878 w 4622585"/>
                <a:gd name="connsiteY19" fmla="*/ 0 h 860789"/>
                <a:gd name="connsiteX20" fmla="*/ 836867 w 4622585"/>
                <a:gd name="connsiteY20" fmla="*/ 0 h 860789"/>
                <a:gd name="connsiteX21" fmla="*/ 845335 w 4622585"/>
                <a:gd name="connsiteY21" fmla="*/ 0 h 860789"/>
                <a:gd name="connsiteX22" fmla="*/ 921464 w 4622585"/>
                <a:gd name="connsiteY22" fmla="*/ 0 h 860789"/>
                <a:gd name="connsiteX23" fmla="*/ 927076 w 4622585"/>
                <a:gd name="connsiteY23" fmla="*/ 0 h 860789"/>
                <a:gd name="connsiteX24" fmla="*/ 940121 w 4622585"/>
                <a:gd name="connsiteY24" fmla="*/ 0 h 860789"/>
                <a:gd name="connsiteX25" fmla="*/ 959713 w 4622585"/>
                <a:gd name="connsiteY25" fmla="*/ 0 h 860789"/>
                <a:gd name="connsiteX26" fmla="*/ 980546 w 4622585"/>
                <a:gd name="connsiteY26" fmla="*/ 0 h 860789"/>
                <a:gd name="connsiteX27" fmla="*/ 1022238 w 4622585"/>
                <a:gd name="connsiteY27" fmla="*/ 0 h 860789"/>
                <a:gd name="connsiteX28" fmla="*/ 1036542 w 4622585"/>
                <a:gd name="connsiteY28" fmla="*/ 0 h 860789"/>
                <a:gd name="connsiteX29" fmla="*/ 1098797 w 4622585"/>
                <a:gd name="connsiteY29" fmla="*/ 0 h 860789"/>
                <a:gd name="connsiteX30" fmla="*/ 1101248 w 4622585"/>
                <a:gd name="connsiteY30" fmla="*/ 0 h 860789"/>
                <a:gd name="connsiteX31" fmla="*/ 1109715 w 4622585"/>
                <a:gd name="connsiteY31" fmla="*/ 0 h 860789"/>
                <a:gd name="connsiteX32" fmla="*/ 1111845 w 4622585"/>
                <a:gd name="connsiteY32" fmla="*/ 0 h 860789"/>
                <a:gd name="connsiteX33" fmla="*/ 1117834 w 4622585"/>
                <a:gd name="connsiteY33" fmla="*/ 0 h 860789"/>
                <a:gd name="connsiteX34" fmla="*/ 1154671 w 4622585"/>
                <a:gd name="connsiteY34" fmla="*/ 0 h 860789"/>
                <a:gd name="connsiteX35" fmla="*/ 1157243 w 4622585"/>
                <a:gd name="connsiteY35" fmla="*/ 0 h 860789"/>
                <a:gd name="connsiteX36" fmla="*/ 1192921 w 4622585"/>
                <a:gd name="connsiteY36" fmla="*/ 0 h 860789"/>
                <a:gd name="connsiteX37" fmla="*/ 1219498 w 4622585"/>
                <a:gd name="connsiteY37" fmla="*/ 0 h 860789"/>
                <a:gd name="connsiteX38" fmla="*/ 1232546 w 4622585"/>
                <a:gd name="connsiteY38" fmla="*/ 0 h 860789"/>
                <a:gd name="connsiteX39" fmla="*/ 1238535 w 4622585"/>
                <a:gd name="connsiteY39" fmla="*/ 0 h 860789"/>
                <a:gd name="connsiteX40" fmla="*/ 1247002 w 4622585"/>
                <a:gd name="connsiteY40" fmla="*/ 0 h 860789"/>
                <a:gd name="connsiteX41" fmla="*/ 1255447 w 4622585"/>
                <a:gd name="connsiteY41" fmla="*/ 0 h 860789"/>
                <a:gd name="connsiteX42" fmla="*/ 1275373 w 4622585"/>
                <a:gd name="connsiteY42" fmla="*/ 0 h 860789"/>
                <a:gd name="connsiteX43" fmla="*/ 1313622 w 4622585"/>
                <a:gd name="connsiteY43" fmla="*/ 0 h 860789"/>
                <a:gd name="connsiteX44" fmla="*/ 1328743 w 4622585"/>
                <a:gd name="connsiteY44" fmla="*/ 0 h 860789"/>
                <a:gd name="connsiteX45" fmla="*/ 1341789 w 4622585"/>
                <a:gd name="connsiteY45" fmla="*/ 0 h 860789"/>
                <a:gd name="connsiteX46" fmla="*/ 1368692 w 4622585"/>
                <a:gd name="connsiteY46" fmla="*/ 0 h 860789"/>
                <a:gd name="connsiteX47" fmla="*/ 1376147 w 4622585"/>
                <a:gd name="connsiteY47" fmla="*/ 0 h 860789"/>
                <a:gd name="connsiteX48" fmla="*/ 1382213 w 4622585"/>
                <a:gd name="connsiteY48" fmla="*/ 0 h 860789"/>
                <a:gd name="connsiteX49" fmla="*/ 1384615 w 4622585"/>
                <a:gd name="connsiteY49" fmla="*/ 0 h 860789"/>
                <a:gd name="connsiteX50" fmla="*/ 1390451 w 4622585"/>
                <a:gd name="connsiteY50" fmla="*/ 0 h 860789"/>
                <a:gd name="connsiteX51" fmla="*/ 1452706 w 4622585"/>
                <a:gd name="connsiteY51" fmla="*/ 0 h 860789"/>
                <a:gd name="connsiteX52" fmla="*/ 1465754 w 4622585"/>
                <a:gd name="connsiteY52" fmla="*/ 0 h 860789"/>
                <a:gd name="connsiteX53" fmla="*/ 1471743 w 4622585"/>
                <a:gd name="connsiteY53" fmla="*/ 0 h 860789"/>
                <a:gd name="connsiteX54" fmla="*/ 1480209 w 4622585"/>
                <a:gd name="connsiteY54" fmla="*/ 0 h 860789"/>
                <a:gd name="connsiteX55" fmla="*/ 1502915 w 4622585"/>
                <a:gd name="connsiteY55" fmla="*/ 0 h 860789"/>
                <a:gd name="connsiteX56" fmla="*/ 1511382 w 4622585"/>
                <a:gd name="connsiteY56" fmla="*/ 0 h 860789"/>
                <a:gd name="connsiteX57" fmla="*/ 1556338 w 4622585"/>
                <a:gd name="connsiteY57" fmla="*/ 0 h 860789"/>
                <a:gd name="connsiteX58" fmla="*/ 1561950 w 4622585"/>
                <a:gd name="connsiteY58" fmla="*/ 0 h 860789"/>
                <a:gd name="connsiteX59" fmla="*/ 1574996 w 4622585"/>
                <a:gd name="connsiteY59" fmla="*/ 0 h 860789"/>
                <a:gd name="connsiteX60" fmla="*/ 1594588 w 4622585"/>
                <a:gd name="connsiteY60" fmla="*/ 0 h 860789"/>
                <a:gd name="connsiteX61" fmla="*/ 1600911 w 4622585"/>
                <a:gd name="connsiteY61" fmla="*/ 0 h 860789"/>
                <a:gd name="connsiteX62" fmla="*/ 1657114 w 4622585"/>
                <a:gd name="connsiteY62" fmla="*/ 0 h 860789"/>
                <a:gd name="connsiteX63" fmla="*/ 1677040 w 4622585"/>
                <a:gd name="connsiteY63" fmla="*/ 0 h 860789"/>
                <a:gd name="connsiteX64" fmla="*/ 1682652 w 4622585"/>
                <a:gd name="connsiteY64" fmla="*/ 0 h 860789"/>
                <a:gd name="connsiteX65" fmla="*/ 1695697 w 4622585"/>
                <a:gd name="connsiteY65" fmla="*/ 0 h 860789"/>
                <a:gd name="connsiteX66" fmla="*/ 1715289 w 4622585"/>
                <a:gd name="connsiteY66" fmla="*/ 0 h 860789"/>
                <a:gd name="connsiteX67" fmla="*/ 1736122 w 4622585"/>
                <a:gd name="connsiteY67" fmla="*/ 0 h 860789"/>
                <a:gd name="connsiteX68" fmla="*/ 1744590 w 4622585"/>
                <a:gd name="connsiteY68" fmla="*/ 0 h 860789"/>
                <a:gd name="connsiteX69" fmla="*/ 1770359 w 4622585"/>
                <a:gd name="connsiteY69" fmla="*/ 0 h 860789"/>
                <a:gd name="connsiteX70" fmla="*/ 1777814 w 4622585"/>
                <a:gd name="connsiteY70" fmla="*/ 0 h 860789"/>
                <a:gd name="connsiteX71" fmla="*/ 1786282 w 4622585"/>
                <a:gd name="connsiteY71" fmla="*/ 0 h 860789"/>
                <a:gd name="connsiteX72" fmla="*/ 1792118 w 4622585"/>
                <a:gd name="connsiteY72" fmla="*/ 0 h 860789"/>
                <a:gd name="connsiteX73" fmla="*/ 1854373 w 4622585"/>
                <a:gd name="connsiteY73" fmla="*/ 0 h 860789"/>
                <a:gd name="connsiteX74" fmla="*/ 1865291 w 4622585"/>
                <a:gd name="connsiteY74" fmla="*/ 0 h 860789"/>
                <a:gd name="connsiteX75" fmla="*/ 1867421 w 4622585"/>
                <a:gd name="connsiteY75" fmla="*/ 0 h 860789"/>
                <a:gd name="connsiteX76" fmla="*/ 1873410 w 4622585"/>
                <a:gd name="connsiteY76" fmla="*/ 0 h 860789"/>
                <a:gd name="connsiteX77" fmla="*/ 1881877 w 4622585"/>
                <a:gd name="connsiteY77" fmla="*/ 0 h 860789"/>
                <a:gd name="connsiteX78" fmla="*/ 1910247 w 4622585"/>
                <a:gd name="connsiteY78" fmla="*/ 0 h 860789"/>
                <a:gd name="connsiteX79" fmla="*/ 1948497 w 4622585"/>
                <a:gd name="connsiteY79" fmla="*/ 0 h 860789"/>
                <a:gd name="connsiteX80" fmla="*/ 1963617 w 4622585"/>
                <a:gd name="connsiteY80" fmla="*/ 0 h 860789"/>
                <a:gd name="connsiteX81" fmla="*/ 1976663 w 4622585"/>
                <a:gd name="connsiteY81" fmla="*/ 0 h 860789"/>
                <a:gd name="connsiteX82" fmla="*/ 2002578 w 4622585"/>
                <a:gd name="connsiteY82" fmla="*/ 0 h 860789"/>
                <a:gd name="connsiteX83" fmla="*/ 2003566 w 4622585"/>
                <a:gd name="connsiteY83" fmla="*/ 0 h 860789"/>
                <a:gd name="connsiteX84" fmla="*/ 2011023 w 4622585"/>
                <a:gd name="connsiteY84" fmla="*/ 0 h 860789"/>
                <a:gd name="connsiteX85" fmla="*/ 2019489 w 4622585"/>
                <a:gd name="connsiteY85" fmla="*/ 0 h 860789"/>
                <a:gd name="connsiteX86" fmla="*/ 2084319 w 4622585"/>
                <a:gd name="connsiteY86" fmla="*/ 0 h 860789"/>
                <a:gd name="connsiteX87" fmla="*/ 2097365 w 4622585"/>
                <a:gd name="connsiteY87" fmla="*/ 0 h 860789"/>
                <a:gd name="connsiteX88" fmla="*/ 2124268 w 4622585"/>
                <a:gd name="connsiteY88" fmla="*/ 0 h 860789"/>
                <a:gd name="connsiteX89" fmla="*/ 2132736 w 4622585"/>
                <a:gd name="connsiteY89" fmla="*/ 0 h 860789"/>
                <a:gd name="connsiteX90" fmla="*/ 2137789 w 4622585"/>
                <a:gd name="connsiteY90" fmla="*/ 0 h 860789"/>
                <a:gd name="connsiteX91" fmla="*/ 2140191 w 4622585"/>
                <a:gd name="connsiteY91" fmla="*/ 0 h 860789"/>
                <a:gd name="connsiteX92" fmla="*/ 2146257 w 4622585"/>
                <a:gd name="connsiteY92" fmla="*/ 0 h 860789"/>
                <a:gd name="connsiteX93" fmla="*/ 2233510 w 4622585"/>
                <a:gd name="connsiteY93" fmla="*/ 0 h 860789"/>
                <a:gd name="connsiteX94" fmla="*/ 2235786 w 4622585"/>
                <a:gd name="connsiteY94" fmla="*/ 0 h 860789"/>
                <a:gd name="connsiteX95" fmla="*/ 2266958 w 4622585"/>
                <a:gd name="connsiteY95" fmla="*/ 0 h 860789"/>
                <a:gd name="connsiteX96" fmla="*/ 2311914 w 4622585"/>
                <a:gd name="connsiteY96" fmla="*/ 0 h 860789"/>
                <a:gd name="connsiteX97" fmla="*/ 2317526 w 4622585"/>
                <a:gd name="connsiteY97" fmla="*/ 0 h 860789"/>
                <a:gd name="connsiteX98" fmla="*/ 2330572 w 4622585"/>
                <a:gd name="connsiteY98" fmla="*/ 0 h 860789"/>
                <a:gd name="connsiteX99" fmla="*/ 2350164 w 4622585"/>
                <a:gd name="connsiteY99" fmla="*/ 0 h 860789"/>
                <a:gd name="connsiteX100" fmla="*/ 2405233 w 4622585"/>
                <a:gd name="connsiteY100" fmla="*/ 0 h 860789"/>
                <a:gd name="connsiteX101" fmla="*/ 2412690 w 4622585"/>
                <a:gd name="connsiteY101" fmla="*/ 0 h 860789"/>
                <a:gd name="connsiteX102" fmla="*/ 2421156 w 4622585"/>
                <a:gd name="connsiteY102" fmla="*/ 0 h 860789"/>
                <a:gd name="connsiteX103" fmla="*/ 2500166 w 4622585"/>
                <a:gd name="connsiteY103" fmla="*/ 0 h 860789"/>
                <a:gd name="connsiteX104" fmla="*/ 2525935 w 4622585"/>
                <a:gd name="connsiteY104" fmla="*/ 0 h 860789"/>
                <a:gd name="connsiteX105" fmla="*/ 2534403 w 4622585"/>
                <a:gd name="connsiteY105" fmla="*/ 0 h 860789"/>
                <a:gd name="connsiteX106" fmla="*/ 2541858 w 4622585"/>
                <a:gd name="connsiteY106" fmla="*/ 0 h 860789"/>
                <a:gd name="connsiteX107" fmla="*/ 2635177 w 4622585"/>
                <a:gd name="connsiteY107" fmla="*/ 0 h 860789"/>
                <a:gd name="connsiteX108" fmla="*/ 2637453 w 4622585"/>
                <a:gd name="connsiteY108" fmla="*/ 0 h 860789"/>
                <a:gd name="connsiteX109" fmla="*/ 2719193 w 4622585"/>
                <a:gd name="connsiteY109" fmla="*/ 0 h 860789"/>
                <a:gd name="connsiteX110" fmla="*/ 2732239 w 4622585"/>
                <a:gd name="connsiteY110" fmla="*/ 0 h 860789"/>
                <a:gd name="connsiteX111" fmla="*/ 2759142 w 4622585"/>
                <a:gd name="connsiteY111" fmla="*/ 0 h 860789"/>
                <a:gd name="connsiteX112" fmla="*/ 2767611 w 4622585"/>
                <a:gd name="connsiteY112" fmla="*/ 0 h 860789"/>
                <a:gd name="connsiteX113" fmla="*/ 2775065 w 4622585"/>
                <a:gd name="connsiteY113" fmla="*/ 0 h 860789"/>
                <a:gd name="connsiteX114" fmla="*/ 2868384 w 4622585"/>
                <a:gd name="connsiteY114" fmla="*/ 0 h 860789"/>
                <a:gd name="connsiteX115" fmla="*/ 2888312 w 4622585"/>
                <a:gd name="connsiteY115" fmla="*/ 0 h 860789"/>
                <a:gd name="connsiteX116" fmla="*/ 2901833 w 4622585"/>
                <a:gd name="connsiteY116" fmla="*/ 0 h 860789"/>
                <a:gd name="connsiteX117" fmla="*/ 2989086 w 4622585"/>
                <a:gd name="connsiteY117" fmla="*/ 0 h 860789"/>
                <a:gd name="connsiteX118" fmla="*/ 3160809 w 4622585"/>
                <a:gd name="connsiteY118" fmla="*/ 0 h 860789"/>
                <a:gd name="connsiteX119" fmla="*/ 3169278 w 4622585"/>
                <a:gd name="connsiteY119" fmla="*/ 0 h 860789"/>
                <a:gd name="connsiteX120" fmla="*/ 3176732 w 4622585"/>
                <a:gd name="connsiteY120" fmla="*/ 0 h 860789"/>
                <a:gd name="connsiteX121" fmla="*/ 3270051 w 4622585"/>
                <a:gd name="connsiteY121" fmla="*/ 0 h 860789"/>
                <a:gd name="connsiteX122" fmla="*/ 3289979 w 4622585"/>
                <a:gd name="connsiteY122" fmla="*/ 0 h 860789"/>
                <a:gd name="connsiteX123" fmla="*/ 3390753 w 4622585"/>
                <a:gd name="connsiteY123" fmla="*/ 0 h 860789"/>
                <a:gd name="connsiteX124" fmla="*/ 3523187 w 4622585"/>
                <a:gd name="connsiteY124" fmla="*/ 0 h 860789"/>
                <a:gd name="connsiteX125" fmla="*/ 3623960 w 4622585"/>
                <a:gd name="connsiteY125" fmla="*/ 0 h 860789"/>
                <a:gd name="connsiteX126" fmla="*/ 3924854 w 4622585"/>
                <a:gd name="connsiteY126" fmla="*/ 0 h 860789"/>
                <a:gd name="connsiteX127" fmla="*/ 4025627 w 4622585"/>
                <a:gd name="connsiteY127" fmla="*/ 0 h 860789"/>
                <a:gd name="connsiteX128" fmla="*/ 4622585 w 4622585"/>
                <a:gd name="connsiteY128" fmla="*/ 9127 h 860789"/>
                <a:gd name="connsiteX129" fmla="*/ 3774349 w 4622585"/>
                <a:gd name="connsiteY129" fmla="*/ 860789 h 860789"/>
                <a:gd name="connsiteX130" fmla="*/ 3372682 w 4622585"/>
                <a:gd name="connsiteY130" fmla="*/ 860789 h 860789"/>
                <a:gd name="connsiteX131" fmla="*/ 3160809 w 4622585"/>
                <a:gd name="connsiteY131" fmla="*/ 860789 h 860789"/>
                <a:gd name="connsiteX132" fmla="*/ 3139475 w 4622585"/>
                <a:gd name="connsiteY132" fmla="*/ 860789 h 860789"/>
                <a:gd name="connsiteX133" fmla="*/ 3018773 w 4622585"/>
                <a:gd name="connsiteY133" fmla="*/ 860789 h 860789"/>
                <a:gd name="connsiteX134" fmla="*/ 2759142 w 4622585"/>
                <a:gd name="connsiteY134" fmla="*/ 860789 h 860789"/>
                <a:gd name="connsiteX135" fmla="*/ 2737808 w 4622585"/>
                <a:gd name="connsiteY135" fmla="*/ 860789 h 860789"/>
                <a:gd name="connsiteX136" fmla="*/ 2724527 w 4622585"/>
                <a:gd name="connsiteY136" fmla="*/ 860789 h 860789"/>
                <a:gd name="connsiteX137" fmla="*/ 2617106 w 4622585"/>
                <a:gd name="connsiteY137" fmla="*/ 860789 h 860789"/>
                <a:gd name="connsiteX138" fmla="*/ 2525935 w 4622585"/>
                <a:gd name="connsiteY138" fmla="*/ 860789 h 860789"/>
                <a:gd name="connsiteX139" fmla="*/ 2412690 w 4622585"/>
                <a:gd name="connsiteY139" fmla="*/ 860789 h 860789"/>
                <a:gd name="connsiteX140" fmla="*/ 2405233 w 4622585"/>
                <a:gd name="connsiteY140" fmla="*/ 860789 h 860789"/>
                <a:gd name="connsiteX141" fmla="*/ 2383899 w 4622585"/>
                <a:gd name="connsiteY141" fmla="*/ 860789 h 860789"/>
                <a:gd name="connsiteX142" fmla="*/ 2322860 w 4622585"/>
                <a:gd name="connsiteY142" fmla="*/ 860789 h 860789"/>
                <a:gd name="connsiteX143" fmla="*/ 2137789 w 4622585"/>
                <a:gd name="connsiteY143" fmla="*/ 860789 h 860789"/>
                <a:gd name="connsiteX144" fmla="*/ 2124268 w 4622585"/>
                <a:gd name="connsiteY144" fmla="*/ 860789 h 860789"/>
                <a:gd name="connsiteX145" fmla="*/ 2089653 w 4622585"/>
                <a:gd name="connsiteY145" fmla="*/ 860789 h 860789"/>
                <a:gd name="connsiteX146" fmla="*/ 2011023 w 4622585"/>
                <a:gd name="connsiteY146" fmla="*/ 860789 h 860789"/>
                <a:gd name="connsiteX147" fmla="*/ 2003566 w 4622585"/>
                <a:gd name="connsiteY147" fmla="*/ 860789 h 860789"/>
                <a:gd name="connsiteX148" fmla="*/ 1982232 w 4622585"/>
                <a:gd name="connsiteY148" fmla="*/ 860789 h 860789"/>
                <a:gd name="connsiteX149" fmla="*/ 1968951 w 4622585"/>
                <a:gd name="connsiteY149" fmla="*/ 860789 h 860789"/>
                <a:gd name="connsiteX150" fmla="*/ 1873410 w 4622585"/>
                <a:gd name="connsiteY150" fmla="*/ 860789 h 860789"/>
                <a:gd name="connsiteX151" fmla="*/ 1859707 w 4622585"/>
                <a:gd name="connsiteY151" fmla="*/ 860789 h 860789"/>
                <a:gd name="connsiteX152" fmla="*/ 1792118 w 4622585"/>
                <a:gd name="connsiteY152" fmla="*/ 860789 h 860789"/>
                <a:gd name="connsiteX153" fmla="*/ 1777814 w 4622585"/>
                <a:gd name="connsiteY153" fmla="*/ 860789 h 860789"/>
                <a:gd name="connsiteX154" fmla="*/ 1770359 w 4622585"/>
                <a:gd name="connsiteY154" fmla="*/ 860789 h 860789"/>
                <a:gd name="connsiteX155" fmla="*/ 1736122 w 4622585"/>
                <a:gd name="connsiteY155" fmla="*/ 860789 h 860789"/>
                <a:gd name="connsiteX156" fmla="*/ 1687986 w 4622585"/>
                <a:gd name="connsiteY156" fmla="*/ 860789 h 860789"/>
                <a:gd name="connsiteX157" fmla="*/ 1657114 w 4622585"/>
                <a:gd name="connsiteY157" fmla="*/ 860789 h 860789"/>
                <a:gd name="connsiteX158" fmla="*/ 1567284 w 4622585"/>
                <a:gd name="connsiteY158" fmla="*/ 860789 h 860789"/>
                <a:gd name="connsiteX159" fmla="*/ 1502915 w 4622585"/>
                <a:gd name="connsiteY159" fmla="*/ 860789 h 860789"/>
                <a:gd name="connsiteX160" fmla="*/ 1471743 w 4622585"/>
                <a:gd name="connsiteY160" fmla="*/ 860789 h 860789"/>
                <a:gd name="connsiteX161" fmla="*/ 1458040 w 4622585"/>
                <a:gd name="connsiteY161" fmla="*/ 860789 h 860789"/>
                <a:gd name="connsiteX162" fmla="*/ 1390451 w 4622585"/>
                <a:gd name="connsiteY162" fmla="*/ 860789 h 860789"/>
                <a:gd name="connsiteX163" fmla="*/ 1382213 w 4622585"/>
                <a:gd name="connsiteY163" fmla="*/ 860789 h 860789"/>
                <a:gd name="connsiteX164" fmla="*/ 1376147 w 4622585"/>
                <a:gd name="connsiteY164" fmla="*/ 860789 h 860789"/>
                <a:gd name="connsiteX165" fmla="*/ 1368692 w 4622585"/>
                <a:gd name="connsiteY165" fmla="*/ 860789 h 860789"/>
                <a:gd name="connsiteX166" fmla="*/ 1334077 w 4622585"/>
                <a:gd name="connsiteY166" fmla="*/ 860789 h 860789"/>
                <a:gd name="connsiteX167" fmla="*/ 1255447 w 4622585"/>
                <a:gd name="connsiteY167" fmla="*/ 860789 h 860789"/>
                <a:gd name="connsiteX168" fmla="*/ 1238535 w 4622585"/>
                <a:gd name="connsiteY168" fmla="*/ 860789 h 860789"/>
                <a:gd name="connsiteX169" fmla="*/ 1224833 w 4622585"/>
                <a:gd name="connsiteY169" fmla="*/ 860789 h 860789"/>
                <a:gd name="connsiteX170" fmla="*/ 1157243 w 4622585"/>
                <a:gd name="connsiteY170" fmla="*/ 860789 h 860789"/>
                <a:gd name="connsiteX171" fmla="*/ 1117834 w 4622585"/>
                <a:gd name="connsiteY171" fmla="*/ 860789 h 860789"/>
                <a:gd name="connsiteX172" fmla="*/ 1104131 w 4622585"/>
                <a:gd name="connsiteY172" fmla="*/ 860789 h 860789"/>
                <a:gd name="connsiteX173" fmla="*/ 1101248 w 4622585"/>
                <a:gd name="connsiteY173" fmla="*/ 860789 h 860789"/>
                <a:gd name="connsiteX174" fmla="*/ 1036542 w 4622585"/>
                <a:gd name="connsiteY174" fmla="*/ 860789 h 860789"/>
                <a:gd name="connsiteX175" fmla="*/ 1022238 w 4622585"/>
                <a:gd name="connsiteY175" fmla="*/ 860789 h 860789"/>
                <a:gd name="connsiteX176" fmla="*/ 980546 w 4622585"/>
                <a:gd name="connsiteY176" fmla="*/ 860789 h 860789"/>
                <a:gd name="connsiteX177" fmla="*/ 932410 w 4622585"/>
                <a:gd name="connsiteY177" fmla="*/ 860789 h 860789"/>
                <a:gd name="connsiteX178" fmla="*/ 836867 w 4622585"/>
                <a:gd name="connsiteY178" fmla="*/ 860789 h 860789"/>
                <a:gd name="connsiteX179" fmla="*/ 823166 w 4622585"/>
                <a:gd name="connsiteY179" fmla="*/ 860789 h 860789"/>
                <a:gd name="connsiteX180" fmla="*/ 755576 w 4622585"/>
                <a:gd name="connsiteY180" fmla="*/ 860789 h 860789"/>
                <a:gd name="connsiteX181" fmla="*/ 747339 w 4622585"/>
                <a:gd name="connsiteY181" fmla="*/ 860789 h 860789"/>
                <a:gd name="connsiteX182" fmla="*/ 716167 w 4622585"/>
                <a:gd name="connsiteY182" fmla="*/ 860789 h 860789"/>
                <a:gd name="connsiteX183" fmla="*/ 702464 w 4622585"/>
                <a:gd name="connsiteY183" fmla="*/ 860789 h 860789"/>
                <a:gd name="connsiteX184" fmla="*/ 634875 w 4622585"/>
                <a:gd name="connsiteY184" fmla="*/ 860789 h 860789"/>
                <a:gd name="connsiteX185" fmla="*/ 620571 w 4622585"/>
                <a:gd name="connsiteY185" fmla="*/ 860789 h 860789"/>
                <a:gd name="connsiteX186" fmla="*/ 482958 w 4622585"/>
                <a:gd name="connsiteY186" fmla="*/ 860789 h 860789"/>
                <a:gd name="connsiteX187" fmla="*/ 469257 w 4622585"/>
                <a:gd name="connsiteY187" fmla="*/ 860789 h 860789"/>
                <a:gd name="connsiteX188" fmla="*/ 401667 w 4622585"/>
                <a:gd name="connsiteY188" fmla="*/ 860789 h 860789"/>
                <a:gd name="connsiteX189" fmla="*/ 345672 w 4622585"/>
                <a:gd name="connsiteY189" fmla="*/ 860789 h 860789"/>
                <a:gd name="connsiteX190" fmla="*/ 81291 w 4622585"/>
                <a:gd name="connsiteY190" fmla="*/ 860789 h 860789"/>
                <a:gd name="connsiteX191" fmla="*/ 67590 w 4622585"/>
                <a:gd name="connsiteY191" fmla="*/ 860789 h 860789"/>
                <a:gd name="connsiteX192" fmla="*/ 0 w 4622585"/>
                <a:gd name="connsiteY192" fmla="*/ 860789 h 86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4622585" h="860789">
                  <a:moveTo>
                    <a:pt x="0" y="0"/>
                  </a:moveTo>
                  <a:lnTo>
                    <a:pt x="62255" y="0"/>
                  </a:lnTo>
                  <a:lnTo>
                    <a:pt x="75302" y="0"/>
                  </a:lnTo>
                  <a:lnTo>
                    <a:pt x="81291" y="0"/>
                  </a:lnTo>
                  <a:lnTo>
                    <a:pt x="345672" y="0"/>
                  </a:lnTo>
                  <a:lnTo>
                    <a:pt x="401667" y="0"/>
                  </a:lnTo>
                  <a:lnTo>
                    <a:pt x="463922" y="0"/>
                  </a:lnTo>
                  <a:lnTo>
                    <a:pt x="476970" y="0"/>
                  </a:lnTo>
                  <a:lnTo>
                    <a:pt x="482958" y="0"/>
                  </a:lnTo>
                  <a:lnTo>
                    <a:pt x="519797" y="0"/>
                  </a:lnTo>
                  <a:lnTo>
                    <a:pt x="558046" y="0"/>
                  </a:lnTo>
                  <a:lnTo>
                    <a:pt x="620571" y="0"/>
                  </a:lnTo>
                  <a:lnTo>
                    <a:pt x="634875" y="0"/>
                  </a:lnTo>
                  <a:lnTo>
                    <a:pt x="697130" y="0"/>
                  </a:lnTo>
                  <a:lnTo>
                    <a:pt x="710178" y="0"/>
                  </a:lnTo>
                  <a:lnTo>
                    <a:pt x="716167" y="0"/>
                  </a:lnTo>
                  <a:lnTo>
                    <a:pt x="747339" y="0"/>
                  </a:lnTo>
                  <a:lnTo>
                    <a:pt x="755576" y="0"/>
                  </a:lnTo>
                  <a:lnTo>
                    <a:pt x="817831" y="0"/>
                  </a:lnTo>
                  <a:lnTo>
                    <a:pt x="830878" y="0"/>
                  </a:lnTo>
                  <a:lnTo>
                    <a:pt x="836867" y="0"/>
                  </a:lnTo>
                  <a:lnTo>
                    <a:pt x="845335" y="0"/>
                  </a:lnTo>
                  <a:lnTo>
                    <a:pt x="921464" y="0"/>
                  </a:lnTo>
                  <a:lnTo>
                    <a:pt x="927076" y="0"/>
                  </a:lnTo>
                  <a:lnTo>
                    <a:pt x="940121" y="0"/>
                  </a:lnTo>
                  <a:lnTo>
                    <a:pt x="959713" y="0"/>
                  </a:lnTo>
                  <a:lnTo>
                    <a:pt x="980546" y="0"/>
                  </a:lnTo>
                  <a:lnTo>
                    <a:pt x="1022238" y="0"/>
                  </a:lnTo>
                  <a:lnTo>
                    <a:pt x="1036542" y="0"/>
                  </a:lnTo>
                  <a:lnTo>
                    <a:pt x="1098797" y="0"/>
                  </a:lnTo>
                  <a:lnTo>
                    <a:pt x="1101248" y="0"/>
                  </a:lnTo>
                  <a:lnTo>
                    <a:pt x="1109715" y="0"/>
                  </a:lnTo>
                  <a:lnTo>
                    <a:pt x="1111845" y="0"/>
                  </a:lnTo>
                  <a:lnTo>
                    <a:pt x="1117834" y="0"/>
                  </a:lnTo>
                  <a:lnTo>
                    <a:pt x="1154671" y="0"/>
                  </a:lnTo>
                  <a:lnTo>
                    <a:pt x="1157243" y="0"/>
                  </a:lnTo>
                  <a:lnTo>
                    <a:pt x="1192921" y="0"/>
                  </a:lnTo>
                  <a:lnTo>
                    <a:pt x="1219498" y="0"/>
                  </a:lnTo>
                  <a:lnTo>
                    <a:pt x="1232546" y="0"/>
                  </a:lnTo>
                  <a:lnTo>
                    <a:pt x="1238535" y="0"/>
                  </a:lnTo>
                  <a:lnTo>
                    <a:pt x="1247002" y="0"/>
                  </a:lnTo>
                  <a:lnTo>
                    <a:pt x="1255447" y="0"/>
                  </a:lnTo>
                  <a:lnTo>
                    <a:pt x="1275373" y="0"/>
                  </a:lnTo>
                  <a:lnTo>
                    <a:pt x="1313622" y="0"/>
                  </a:lnTo>
                  <a:lnTo>
                    <a:pt x="1328743" y="0"/>
                  </a:lnTo>
                  <a:lnTo>
                    <a:pt x="1341789" y="0"/>
                  </a:lnTo>
                  <a:lnTo>
                    <a:pt x="1368692" y="0"/>
                  </a:lnTo>
                  <a:lnTo>
                    <a:pt x="1376147" y="0"/>
                  </a:lnTo>
                  <a:lnTo>
                    <a:pt x="1382213" y="0"/>
                  </a:lnTo>
                  <a:lnTo>
                    <a:pt x="1384615" y="0"/>
                  </a:lnTo>
                  <a:lnTo>
                    <a:pt x="1390451" y="0"/>
                  </a:lnTo>
                  <a:lnTo>
                    <a:pt x="1452706" y="0"/>
                  </a:lnTo>
                  <a:lnTo>
                    <a:pt x="1465754" y="0"/>
                  </a:lnTo>
                  <a:lnTo>
                    <a:pt x="1471743" y="0"/>
                  </a:lnTo>
                  <a:lnTo>
                    <a:pt x="1480209" y="0"/>
                  </a:lnTo>
                  <a:lnTo>
                    <a:pt x="1502915" y="0"/>
                  </a:lnTo>
                  <a:lnTo>
                    <a:pt x="1511382" y="0"/>
                  </a:lnTo>
                  <a:lnTo>
                    <a:pt x="1556338" y="0"/>
                  </a:lnTo>
                  <a:lnTo>
                    <a:pt x="1561950" y="0"/>
                  </a:lnTo>
                  <a:lnTo>
                    <a:pt x="1574996" y="0"/>
                  </a:lnTo>
                  <a:lnTo>
                    <a:pt x="1594588" y="0"/>
                  </a:lnTo>
                  <a:lnTo>
                    <a:pt x="1600911" y="0"/>
                  </a:lnTo>
                  <a:lnTo>
                    <a:pt x="1657114" y="0"/>
                  </a:lnTo>
                  <a:lnTo>
                    <a:pt x="1677040" y="0"/>
                  </a:lnTo>
                  <a:lnTo>
                    <a:pt x="1682652" y="0"/>
                  </a:lnTo>
                  <a:lnTo>
                    <a:pt x="1695697" y="0"/>
                  </a:lnTo>
                  <a:lnTo>
                    <a:pt x="1715289" y="0"/>
                  </a:lnTo>
                  <a:lnTo>
                    <a:pt x="1736122" y="0"/>
                  </a:lnTo>
                  <a:lnTo>
                    <a:pt x="1744590" y="0"/>
                  </a:lnTo>
                  <a:lnTo>
                    <a:pt x="1770359" y="0"/>
                  </a:lnTo>
                  <a:lnTo>
                    <a:pt x="1777814" y="0"/>
                  </a:lnTo>
                  <a:lnTo>
                    <a:pt x="1786282" y="0"/>
                  </a:lnTo>
                  <a:lnTo>
                    <a:pt x="1792118" y="0"/>
                  </a:lnTo>
                  <a:lnTo>
                    <a:pt x="1854373" y="0"/>
                  </a:lnTo>
                  <a:lnTo>
                    <a:pt x="1865291" y="0"/>
                  </a:lnTo>
                  <a:lnTo>
                    <a:pt x="1867421" y="0"/>
                  </a:lnTo>
                  <a:lnTo>
                    <a:pt x="1873410" y="0"/>
                  </a:lnTo>
                  <a:lnTo>
                    <a:pt x="1881877" y="0"/>
                  </a:lnTo>
                  <a:lnTo>
                    <a:pt x="1910247" y="0"/>
                  </a:lnTo>
                  <a:lnTo>
                    <a:pt x="1948497" y="0"/>
                  </a:lnTo>
                  <a:lnTo>
                    <a:pt x="1963617" y="0"/>
                  </a:lnTo>
                  <a:lnTo>
                    <a:pt x="1976663" y="0"/>
                  </a:lnTo>
                  <a:lnTo>
                    <a:pt x="2002578" y="0"/>
                  </a:lnTo>
                  <a:lnTo>
                    <a:pt x="2003566" y="0"/>
                  </a:lnTo>
                  <a:lnTo>
                    <a:pt x="2011023" y="0"/>
                  </a:lnTo>
                  <a:lnTo>
                    <a:pt x="2019489" y="0"/>
                  </a:lnTo>
                  <a:lnTo>
                    <a:pt x="2084319" y="0"/>
                  </a:lnTo>
                  <a:lnTo>
                    <a:pt x="2097365" y="0"/>
                  </a:lnTo>
                  <a:lnTo>
                    <a:pt x="2124268" y="0"/>
                  </a:lnTo>
                  <a:lnTo>
                    <a:pt x="2132736" y="0"/>
                  </a:lnTo>
                  <a:lnTo>
                    <a:pt x="2137789" y="0"/>
                  </a:lnTo>
                  <a:lnTo>
                    <a:pt x="2140191" y="0"/>
                  </a:lnTo>
                  <a:lnTo>
                    <a:pt x="2146257" y="0"/>
                  </a:lnTo>
                  <a:lnTo>
                    <a:pt x="2233510" y="0"/>
                  </a:lnTo>
                  <a:lnTo>
                    <a:pt x="2235786" y="0"/>
                  </a:lnTo>
                  <a:lnTo>
                    <a:pt x="2266958" y="0"/>
                  </a:lnTo>
                  <a:lnTo>
                    <a:pt x="2311914" y="0"/>
                  </a:lnTo>
                  <a:lnTo>
                    <a:pt x="2317526" y="0"/>
                  </a:lnTo>
                  <a:lnTo>
                    <a:pt x="2330572" y="0"/>
                  </a:lnTo>
                  <a:lnTo>
                    <a:pt x="2350164" y="0"/>
                  </a:lnTo>
                  <a:lnTo>
                    <a:pt x="2405233" y="0"/>
                  </a:lnTo>
                  <a:lnTo>
                    <a:pt x="2412690" y="0"/>
                  </a:lnTo>
                  <a:lnTo>
                    <a:pt x="2421156" y="0"/>
                  </a:lnTo>
                  <a:lnTo>
                    <a:pt x="2500166" y="0"/>
                  </a:lnTo>
                  <a:lnTo>
                    <a:pt x="2525935" y="0"/>
                  </a:lnTo>
                  <a:lnTo>
                    <a:pt x="2534403" y="0"/>
                  </a:lnTo>
                  <a:lnTo>
                    <a:pt x="2541858" y="0"/>
                  </a:lnTo>
                  <a:lnTo>
                    <a:pt x="2635177" y="0"/>
                  </a:lnTo>
                  <a:lnTo>
                    <a:pt x="2637453" y="0"/>
                  </a:lnTo>
                  <a:lnTo>
                    <a:pt x="2719193" y="0"/>
                  </a:lnTo>
                  <a:lnTo>
                    <a:pt x="2732239" y="0"/>
                  </a:lnTo>
                  <a:lnTo>
                    <a:pt x="2759142" y="0"/>
                  </a:lnTo>
                  <a:lnTo>
                    <a:pt x="2767611" y="0"/>
                  </a:lnTo>
                  <a:lnTo>
                    <a:pt x="2775065" y="0"/>
                  </a:lnTo>
                  <a:lnTo>
                    <a:pt x="2868384" y="0"/>
                  </a:lnTo>
                  <a:lnTo>
                    <a:pt x="2888312" y="0"/>
                  </a:lnTo>
                  <a:lnTo>
                    <a:pt x="2901833" y="0"/>
                  </a:lnTo>
                  <a:lnTo>
                    <a:pt x="2989086" y="0"/>
                  </a:lnTo>
                  <a:lnTo>
                    <a:pt x="3160809" y="0"/>
                  </a:lnTo>
                  <a:lnTo>
                    <a:pt x="3169278" y="0"/>
                  </a:lnTo>
                  <a:lnTo>
                    <a:pt x="3176732" y="0"/>
                  </a:lnTo>
                  <a:lnTo>
                    <a:pt x="3270051" y="0"/>
                  </a:lnTo>
                  <a:lnTo>
                    <a:pt x="3289979" y="0"/>
                  </a:lnTo>
                  <a:lnTo>
                    <a:pt x="3390753" y="0"/>
                  </a:lnTo>
                  <a:lnTo>
                    <a:pt x="3523187" y="0"/>
                  </a:lnTo>
                  <a:lnTo>
                    <a:pt x="3623960" y="0"/>
                  </a:lnTo>
                  <a:lnTo>
                    <a:pt x="3924854" y="0"/>
                  </a:lnTo>
                  <a:lnTo>
                    <a:pt x="4025627" y="0"/>
                  </a:lnTo>
                  <a:lnTo>
                    <a:pt x="4622585" y="9127"/>
                  </a:lnTo>
                  <a:lnTo>
                    <a:pt x="3774349" y="860789"/>
                  </a:lnTo>
                  <a:lnTo>
                    <a:pt x="3372682" y="860789"/>
                  </a:lnTo>
                  <a:lnTo>
                    <a:pt x="3160809" y="860789"/>
                  </a:lnTo>
                  <a:lnTo>
                    <a:pt x="3139475" y="860789"/>
                  </a:lnTo>
                  <a:lnTo>
                    <a:pt x="3018773" y="860789"/>
                  </a:lnTo>
                  <a:lnTo>
                    <a:pt x="2759142" y="860789"/>
                  </a:lnTo>
                  <a:lnTo>
                    <a:pt x="2737808" y="860789"/>
                  </a:lnTo>
                  <a:lnTo>
                    <a:pt x="2724527" y="860789"/>
                  </a:lnTo>
                  <a:lnTo>
                    <a:pt x="2617106" y="860789"/>
                  </a:lnTo>
                  <a:lnTo>
                    <a:pt x="2525935" y="860789"/>
                  </a:lnTo>
                  <a:lnTo>
                    <a:pt x="2412690" y="860789"/>
                  </a:lnTo>
                  <a:lnTo>
                    <a:pt x="2405233" y="860789"/>
                  </a:lnTo>
                  <a:lnTo>
                    <a:pt x="2383899" y="860789"/>
                  </a:lnTo>
                  <a:lnTo>
                    <a:pt x="2322860" y="860789"/>
                  </a:lnTo>
                  <a:lnTo>
                    <a:pt x="2137789" y="860789"/>
                  </a:lnTo>
                  <a:lnTo>
                    <a:pt x="2124268" y="860789"/>
                  </a:lnTo>
                  <a:lnTo>
                    <a:pt x="2089653" y="860789"/>
                  </a:lnTo>
                  <a:lnTo>
                    <a:pt x="2011023" y="860789"/>
                  </a:lnTo>
                  <a:lnTo>
                    <a:pt x="2003566" y="860789"/>
                  </a:lnTo>
                  <a:lnTo>
                    <a:pt x="1982232" y="860789"/>
                  </a:lnTo>
                  <a:lnTo>
                    <a:pt x="1968951" y="860789"/>
                  </a:lnTo>
                  <a:lnTo>
                    <a:pt x="1873410" y="860789"/>
                  </a:lnTo>
                  <a:lnTo>
                    <a:pt x="1859707" y="860789"/>
                  </a:lnTo>
                  <a:lnTo>
                    <a:pt x="1792118" y="860789"/>
                  </a:lnTo>
                  <a:lnTo>
                    <a:pt x="1777814" y="860789"/>
                  </a:lnTo>
                  <a:lnTo>
                    <a:pt x="1770359" y="860789"/>
                  </a:lnTo>
                  <a:lnTo>
                    <a:pt x="1736122" y="860789"/>
                  </a:lnTo>
                  <a:lnTo>
                    <a:pt x="1687986" y="860789"/>
                  </a:lnTo>
                  <a:lnTo>
                    <a:pt x="1657114" y="860789"/>
                  </a:lnTo>
                  <a:lnTo>
                    <a:pt x="1567284" y="860789"/>
                  </a:lnTo>
                  <a:lnTo>
                    <a:pt x="1502915" y="860789"/>
                  </a:lnTo>
                  <a:lnTo>
                    <a:pt x="1471743" y="860789"/>
                  </a:lnTo>
                  <a:lnTo>
                    <a:pt x="1458040" y="860789"/>
                  </a:lnTo>
                  <a:lnTo>
                    <a:pt x="1390451" y="860789"/>
                  </a:lnTo>
                  <a:lnTo>
                    <a:pt x="1382213" y="860789"/>
                  </a:lnTo>
                  <a:lnTo>
                    <a:pt x="1376147" y="860789"/>
                  </a:lnTo>
                  <a:lnTo>
                    <a:pt x="1368692" y="860789"/>
                  </a:lnTo>
                  <a:lnTo>
                    <a:pt x="1334077" y="860789"/>
                  </a:lnTo>
                  <a:lnTo>
                    <a:pt x="1255447" y="860789"/>
                  </a:lnTo>
                  <a:lnTo>
                    <a:pt x="1238535" y="860789"/>
                  </a:lnTo>
                  <a:lnTo>
                    <a:pt x="1224833" y="860789"/>
                  </a:lnTo>
                  <a:lnTo>
                    <a:pt x="1157243" y="860789"/>
                  </a:lnTo>
                  <a:lnTo>
                    <a:pt x="1117834" y="860789"/>
                  </a:lnTo>
                  <a:lnTo>
                    <a:pt x="1104131" y="860789"/>
                  </a:lnTo>
                  <a:lnTo>
                    <a:pt x="1101248" y="860789"/>
                  </a:lnTo>
                  <a:lnTo>
                    <a:pt x="1036542" y="860789"/>
                  </a:lnTo>
                  <a:lnTo>
                    <a:pt x="1022238" y="860789"/>
                  </a:lnTo>
                  <a:lnTo>
                    <a:pt x="980546" y="860789"/>
                  </a:lnTo>
                  <a:lnTo>
                    <a:pt x="932410" y="860789"/>
                  </a:lnTo>
                  <a:lnTo>
                    <a:pt x="836867" y="860789"/>
                  </a:lnTo>
                  <a:lnTo>
                    <a:pt x="823166" y="860789"/>
                  </a:lnTo>
                  <a:lnTo>
                    <a:pt x="755576" y="860789"/>
                  </a:lnTo>
                  <a:lnTo>
                    <a:pt x="747339" y="860789"/>
                  </a:lnTo>
                  <a:lnTo>
                    <a:pt x="716167" y="860789"/>
                  </a:lnTo>
                  <a:lnTo>
                    <a:pt x="702464" y="860789"/>
                  </a:lnTo>
                  <a:lnTo>
                    <a:pt x="634875" y="860789"/>
                  </a:lnTo>
                  <a:lnTo>
                    <a:pt x="620571" y="860789"/>
                  </a:lnTo>
                  <a:lnTo>
                    <a:pt x="482958" y="860789"/>
                  </a:lnTo>
                  <a:lnTo>
                    <a:pt x="469257" y="860789"/>
                  </a:lnTo>
                  <a:lnTo>
                    <a:pt x="401667" y="860789"/>
                  </a:lnTo>
                  <a:lnTo>
                    <a:pt x="345672" y="860789"/>
                  </a:lnTo>
                  <a:lnTo>
                    <a:pt x="81291" y="860789"/>
                  </a:lnTo>
                  <a:lnTo>
                    <a:pt x="67590" y="860789"/>
                  </a:lnTo>
                  <a:lnTo>
                    <a:pt x="0" y="8607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3D26E206-5700-ACA8-36AF-1A26A9483C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918" y="1428301"/>
              <a:ext cx="354669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800" b="0" dirty="0" err="1">
                  <a:solidFill>
                    <a:schemeClr val="tx1"/>
                  </a:solidFill>
                </a:rPr>
                <a:t>Vivamus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elementum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dirty="0" err="1">
                  <a:solidFill>
                    <a:schemeClr val="tx1"/>
                  </a:solidFill>
                </a:rPr>
                <a:t>semper</a:t>
              </a:r>
              <a:r>
                <a:rPr lang="de-DE" sz="1800" dirty="0">
                  <a:solidFill>
                    <a:schemeClr val="tx1"/>
                  </a:solidFill>
                </a:rPr>
                <a:t> nisi</a:t>
              </a:r>
              <a:r>
                <a:rPr lang="de-DE" sz="1800" b="0" dirty="0">
                  <a:solidFill>
                    <a:schemeClr val="tx1"/>
                  </a:solidFill>
                </a:rPr>
                <a:t>. </a:t>
              </a:r>
              <a:r>
                <a:rPr lang="de-DE" sz="1800" b="0" dirty="0" err="1">
                  <a:solidFill>
                    <a:schemeClr val="tx1"/>
                  </a:solidFill>
                </a:rPr>
                <a:t>Aenean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vulputate</a:t>
              </a:r>
              <a:endParaRPr lang="de-DE" sz="1800" b="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40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643D31F-7D7A-48AE-22BB-5A068208233B}"/>
              </a:ext>
            </a:extLst>
          </p:cNvPr>
          <p:cNvSpPr/>
          <p:nvPr/>
        </p:nvSpPr>
        <p:spPr>
          <a:xfrm>
            <a:off x="-7353746" y="-8661498"/>
            <a:ext cx="16523576" cy="19157874"/>
          </a:xfrm>
          <a:custGeom>
            <a:avLst/>
            <a:gdLst>
              <a:gd name="connsiteX0" fmla="*/ 16523576 w 16523576"/>
              <a:gd name="connsiteY0" fmla="*/ 0 h 19157874"/>
              <a:gd name="connsiteX1" fmla="*/ 16523576 w 16523576"/>
              <a:gd name="connsiteY1" fmla="*/ 12381480 h 19157874"/>
              <a:gd name="connsiteX2" fmla="*/ 10665530 w 16523576"/>
              <a:gd name="connsiteY2" fmla="*/ 19157874 h 19157874"/>
              <a:gd name="connsiteX3" fmla="*/ 0 w 16523576"/>
              <a:gd name="connsiteY3" fmla="*/ 19157874 h 1915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23576" h="19157874">
                <a:moveTo>
                  <a:pt x="16523576" y="0"/>
                </a:moveTo>
                <a:lnTo>
                  <a:pt x="16523576" y="12381480"/>
                </a:lnTo>
                <a:lnTo>
                  <a:pt x="10665530" y="19157874"/>
                </a:lnTo>
                <a:lnTo>
                  <a:pt x="0" y="19157874"/>
                </a:lnTo>
                <a:close/>
              </a:path>
            </a:pathLst>
          </a:custGeom>
          <a:solidFill>
            <a:srgbClr val="2B2D2C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07D93D1-F1B6-FDD0-C825-EF873E300D7A}"/>
              </a:ext>
            </a:extLst>
          </p:cNvPr>
          <p:cNvSpPr txBox="1"/>
          <p:nvPr/>
        </p:nvSpPr>
        <p:spPr>
          <a:xfrm>
            <a:off x="5220660" y="2100793"/>
            <a:ext cx="215251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5400" dirty="0">
                <a:solidFill>
                  <a:schemeClr val="accent1"/>
                </a:solidFill>
              </a:rPr>
              <a:t>1,12mio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FB551F2-F910-B630-A4EF-8C857ECE7961}"/>
              </a:ext>
            </a:extLst>
          </p:cNvPr>
          <p:cNvSpPr txBox="1"/>
          <p:nvPr/>
        </p:nvSpPr>
        <p:spPr>
          <a:xfrm>
            <a:off x="6349623" y="3456785"/>
            <a:ext cx="209692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4800" dirty="0">
                <a:solidFill>
                  <a:srgbClr val="755BBA"/>
                </a:solidFill>
              </a:rPr>
              <a:t>10,4mio</a:t>
            </a:r>
            <a:endParaRPr lang="de-DE" sz="4800" dirty="0">
              <a:solidFill>
                <a:srgbClr val="755BBA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C39162D-4CF2-81C1-9D75-F8C341A712FF}"/>
              </a:ext>
            </a:extLst>
          </p:cNvPr>
          <p:cNvSpPr txBox="1"/>
          <p:nvPr/>
        </p:nvSpPr>
        <p:spPr>
          <a:xfrm>
            <a:off x="6349623" y="4261731"/>
            <a:ext cx="13883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100" dirty="0">
                <a:solidFill>
                  <a:schemeClr val="accent4"/>
                </a:solidFill>
                <a:latin typeface="+mn-lt"/>
              </a:rPr>
              <a:t>(99 % Media Traffic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93E178D-29E1-F767-EE28-5CAF295AF97E}"/>
              </a:ext>
            </a:extLst>
          </p:cNvPr>
          <p:cNvSpPr txBox="1"/>
          <p:nvPr/>
        </p:nvSpPr>
        <p:spPr>
          <a:xfrm>
            <a:off x="4211960" y="3318286"/>
            <a:ext cx="1872208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D34F8E"/>
                </a:solidFill>
              </a:rPr>
              <a:t>24k</a:t>
            </a:r>
            <a:endParaRPr lang="de-DE" sz="66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0A8C4-A74F-B852-2B1A-B613C354CAE5}"/>
              </a:ext>
            </a:extLst>
          </p:cNvPr>
          <p:cNvSpPr txBox="1">
            <a:spLocks/>
          </p:cNvSpPr>
          <p:nvPr/>
        </p:nvSpPr>
        <p:spPr bwMode="gray">
          <a:xfrm>
            <a:off x="444426" y="3469779"/>
            <a:ext cx="1587574" cy="6694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chemeClr val="bg1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chemeClr val="bg1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GB" sz="900" dirty="0"/>
              <a:t>vitae, </a:t>
            </a:r>
            <a:r>
              <a:rPr lang="en-GB" sz="900" dirty="0" err="1"/>
              <a:t>eleifend</a:t>
            </a:r>
            <a:r>
              <a:rPr lang="en-GB" sz="900" dirty="0"/>
              <a:t> ac, </a:t>
            </a:r>
            <a:r>
              <a:rPr lang="en-GB" sz="900" dirty="0" err="1"/>
              <a:t>enim</a:t>
            </a:r>
            <a:endParaRPr lang="en-GB" sz="900" dirty="0"/>
          </a:p>
          <a:p>
            <a:pPr lvl="2"/>
            <a:r>
              <a:rPr lang="en-GB" sz="900" dirty="0" err="1"/>
              <a:t>dapibus</a:t>
            </a:r>
            <a:r>
              <a:rPr lang="en-GB" sz="900" dirty="0"/>
              <a:t> in</a:t>
            </a:r>
          </a:p>
          <a:p>
            <a:pPr lvl="2"/>
            <a:r>
              <a:rPr lang="en-GB" sz="900" dirty="0" err="1"/>
              <a:t>viverra</a:t>
            </a:r>
            <a:r>
              <a:rPr lang="en-GB" sz="900" dirty="0"/>
              <a:t> </a:t>
            </a:r>
            <a:r>
              <a:rPr lang="en-GB" sz="900" dirty="0" err="1"/>
              <a:t>quis</a:t>
            </a:r>
            <a:endParaRPr lang="en-GB" sz="900" dirty="0"/>
          </a:p>
          <a:p>
            <a:pPr lvl="2"/>
            <a:r>
              <a:rPr lang="en-GB" sz="900" dirty="0" err="1"/>
              <a:t>feugiat</a:t>
            </a:r>
            <a:r>
              <a:rPr lang="en-GB" sz="900" dirty="0"/>
              <a:t> a, </a:t>
            </a:r>
            <a:r>
              <a:rPr lang="en-GB" sz="900" dirty="0" err="1"/>
              <a:t>tellus</a:t>
            </a:r>
            <a:endParaRPr lang="en-GB" sz="900" dirty="0"/>
          </a:p>
        </p:txBody>
      </p:sp>
      <p:sp>
        <p:nvSpPr>
          <p:cNvPr id="32" name="Textfeld 30">
            <a:extLst>
              <a:ext uri="{FF2B5EF4-FFF2-40B4-BE49-F238E27FC236}">
                <a16:creationId xmlns:a16="http://schemas.microsoft.com/office/drawing/2014/main" id="{F475F7AB-F505-7EB5-2B9D-BF5B619F395F}"/>
              </a:ext>
            </a:extLst>
          </p:cNvPr>
          <p:cNvSpPr txBox="1"/>
          <p:nvPr/>
        </p:nvSpPr>
        <p:spPr>
          <a:xfrm>
            <a:off x="2048798" y="3069564"/>
            <a:ext cx="1779141" cy="101566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E84057"/>
                </a:solidFill>
                <a:latin typeface="+mn-lt"/>
              </a:rPr>
              <a:t>16.7k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9C1EF04-EC0A-BD9E-9C92-BB718C498FC2}"/>
              </a:ext>
            </a:extLst>
          </p:cNvPr>
          <p:cNvGrpSpPr/>
          <p:nvPr/>
        </p:nvGrpSpPr>
        <p:grpSpPr>
          <a:xfrm>
            <a:off x="2124998" y="2038278"/>
            <a:ext cx="1980000" cy="1155458"/>
            <a:chOff x="2124998" y="2038278"/>
            <a:chExt cx="1980000" cy="1155458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D3E763DB-30E3-D3C0-2916-5CADB11F035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2372793"/>
              <a:ext cx="193811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indent="0" defTabSz="685766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400" b="0" cap="none" baseline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defRPr>
              </a:lvl1pPr>
              <a:lvl2pPr marL="0" marR="0" indent="0" defTabSz="685766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>
                  <a:solidFill>
                    <a:schemeClr val="bg1"/>
                  </a:solidFill>
                  <a:cs typeface="DWS Sans Light" panose="02010404010101010104" pitchFamily="50" charset="0"/>
                </a:defRPr>
              </a:lvl2pPr>
              <a:lvl3pPr marL="13716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3pPr>
              <a:lvl4pPr marL="27432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4pPr>
              <a:lvl5pPr marL="41148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5pPr>
              <a:lvl6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6pPr>
              <a:lvl7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7pPr>
              <a:lvl8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8pPr>
              <a:lvl9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Onsite 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Engagement</a:t>
              </a:r>
            </a:p>
          </p:txBody>
        </p:sp>
        <p:sp>
          <p:nvSpPr>
            <p:cNvPr id="33" name="Text Placeholder 3">
              <a:extLst>
                <a:ext uri="{FF2B5EF4-FFF2-40B4-BE49-F238E27FC236}">
                  <a16:creationId xmlns:a16="http://schemas.microsoft.com/office/drawing/2014/main" id="{E4B81B12-AB86-17D0-5FBF-3BDA1429D5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3039848"/>
              <a:ext cx="198000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None/>
              </a:pPr>
              <a:r>
                <a:rPr lang="en-GB" dirty="0" err="1"/>
                <a:t>xxxx</a:t>
              </a:r>
              <a:endParaRPr lang="en-GB" dirty="0"/>
            </a:p>
          </p:txBody>
        </p:sp>
        <p:grpSp>
          <p:nvGrpSpPr>
            <p:cNvPr id="51" name="Group 32">
              <a:extLst>
                <a:ext uri="{FF2B5EF4-FFF2-40B4-BE49-F238E27FC236}">
                  <a16:creationId xmlns:a16="http://schemas.microsoft.com/office/drawing/2014/main" id="{9107FCC3-ACD4-EAFF-8D7C-10B985FC482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40336" y="2038278"/>
              <a:ext cx="207295" cy="227845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52" name="Freeform 33">
                <a:extLst>
                  <a:ext uri="{FF2B5EF4-FFF2-40B4-BE49-F238E27FC236}">
                    <a16:creationId xmlns:a16="http://schemas.microsoft.com/office/drawing/2014/main" id="{401D3C61-9B6C-99A2-953D-38952B90E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34">
                <a:extLst>
                  <a:ext uri="{FF2B5EF4-FFF2-40B4-BE49-F238E27FC236}">
                    <a16:creationId xmlns:a16="http://schemas.microsoft.com/office/drawing/2014/main" id="{3607EE25-E89E-F912-4A61-60D92D3C3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35">
                <a:extLst>
                  <a:ext uri="{FF2B5EF4-FFF2-40B4-BE49-F238E27FC236}">
                    <a16:creationId xmlns:a16="http://schemas.microsoft.com/office/drawing/2014/main" id="{041C28C0-CEA8-EC71-1A2C-C93B2766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BBA7C43-C698-C3B4-7652-F3AF9074ABCC}"/>
              </a:ext>
            </a:extLst>
          </p:cNvPr>
          <p:cNvGrpSpPr/>
          <p:nvPr/>
        </p:nvGrpSpPr>
        <p:grpSpPr>
          <a:xfrm>
            <a:off x="6349623" y="3057850"/>
            <a:ext cx="2134809" cy="425975"/>
            <a:chOff x="6349623" y="3057850"/>
            <a:chExt cx="2134809" cy="425975"/>
          </a:xfrm>
        </p:grpSpPr>
        <p:sp>
          <p:nvSpPr>
            <p:cNvPr id="19" name="Textplatzhalter 6">
              <a:extLst>
                <a:ext uri="{FF2B5EF4-FFF2-40B4-BE49-F238E27FC236}">
                  <a16:creationId xmlns:a16="http://schemas.microsoft.com/office/drawing/2014/main" id="{7681DE05-FBE1-F3D0-F073-BE5E93910AF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49623" y="3329937"/>
              <a:ext cx="213480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CONTENT VISITS PASSIVE</a:t>
              </a:r>
            </a:p>
          </p:txBody>
        </p:sp>
        <p:grpSp>
          <p:nvGrpSpPr>
            <p:cNvPr id="55" name="Group 73">
              <a:extLst>
                <a:ext uri="{FF2B5EF4-FFF2-40B4-BE49-F238E27FC236}">
                  <a16:creationId xmlns:a16="http://schemas.microsoft.com/office/drawing/2014/main" id="{C58EA44E-980C-0126-4882-2110D3AA1A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359500" y="3057850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56" name="Freeform 74">
                <a:extLst>
                  <a:ext uri="{FF2B5EF4-FFF2-40B4-BE49-F238E27FC236}">
                    <a16:creationId xmlns:a16="http://schemas.microsoft.com/office/drawing/2014/main" id="{FB9E67E1-D612-A08F-8151-3F9F1AB76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75">
                <a:extLst>
                  <a:ext uri="{FF2B5EF4-FFF2-40B4-BE49-F238E27FC236}">
                    <a16:creationId xmlns:a16="http://schemas.microsoft.com/office/drawing/2014/main" id="{5DD1F4FE-3A13-5D76-52F6-8FE1B85C9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76">
                <a:extLst>
                  <a:ext uri="{FF2B5EF4-FFF2-40B4-BE49-F238E27FC236}">
                    <a16:creationId xmlns:a16="http://schemas.microsoft.com/office/drawing/2014/main" id="{A77AFD77-6BA1-6F58-9D39-6C11A3F00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77">
                <a:extLst>
                  <a:ext uri="{FF2B5EF4-FFF2-40B4-BE49-F238E27FC236}">
                    <a16:creationId xmlns:a16="http://schemas.microsoft.com/office/drawing/2014/main" id="{A15135A5-9074-D7EE-3E45-A3413582D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78">
                <a:extLst>
                  <a:ext uri="{FF2B5EF4-FFF2-40B4-BE49-F238E27FC236}">
                    <a16:creationId xmlns:a16="http://schemas.microsoft.com/office/drawing/2014/main" id="{E3C36535-FAE2-3B89-FA25-92196A5D4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79">
                <a:extLst>
                  <a:ext uri="{FF2B5EF4-FFF2-40B4-BE49-F238E27FC236}">
                    <a16:creationId xmlns:a16="http://schemas.microsoft.com/office/drawing/2014/main" id="{608D72D9-5570-88F6-8035-8D20BD94C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80">
                <a:extLst>
                  <a:ext uri="{FF2B5EF4-FFF2-40B4-BE49-F238E27FC236}">
                    <a16:creationId xmlns:a16="http://schemas.microsoft.com/office/drawing/2014/main" id="{5A36B1C1-D052-8F6C-1B95-69BCC2B31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81">
                <a:extLst>
                  <a:ext uri="{FF2B5EF4-FFF2-40B4-BE49-F238E27FC236}">
                    <a16:creationId xmlns:a16="http://schemas.microsoft.com/office/drawing/2014/main" id="{A7EA2205-8626-512A-9780-002A4D174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82">
                <a:extLst>
                  <a:ext uri="{FF2B5EF4-FFF2-40B4-BE49-F238E27FC236}">
                    <a16:creationId xmlns:a16="http://schemas.microsoft.com/office/drawing/2014/main" id="{241A07FC-36F0-CDFB-83D2-B299DB44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83">
                <a:extLst>
                  <a:ext uri="{FF2B5EF4-FFF2-40B4-BE49-F238E27FC236}">
                    <a16:creationId xmlns:a16="http://schemas.microsoft.com/office/drawing/2014/main" id="{DD7E8C5D-FB1C-D34E-3BC0-FF9E2531E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07F39C0-04BE-E995-3770-104CA1E081F9}"/>
              </a:ext>
            </a:extLst>
          </p:cNvPr>
          <p:cNvGrpSpPr/>
          <p:nvPr/>
        </p:nvGrpSpPr>
        <p:grpSpPr>
          <a:xfrm>
            <a:off x="402635" y="2445623"/>
            <a:ext cx="1381715" cy="957704"/>
            <a:chOff x="402635" y="2445623"/>
            <a:chExt cx="1381715" cy="957704"/>
          </a:xfrm>
        </p:grpSpPr>
        <p:sp>
          <p:nvSpPr>
            <p:cNvPr id="5" name="Text Placeholder 3">
              <a:extLst>
                <a:ext uri="{FF2B5EF4-FFF2-40B4-BE49-F238E27FC236}">
                  <a16:creationId xmlns:a16="http://schemas.microsoft.com/office/drawing/2014/main" id="{9A7C91DC-4919-4F8C-C8D9-238D73D10C5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4426" y="2787774"/>
              <a:ext cx="133992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Bef>
                  <a:spcPts val="0"/>
                </a:spcBef>
              </a:pP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Traffic </a:t>
              </a:r>
              <a:b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</a:b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Sources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40C134B2-40EA-6BFD-BDFF-D1815B114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2635" y="2445623"/>
              <a:ext cx="250220" cy="25022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89E68CD-3292-760B-FDE0-A2876A6E96B8}"/>
              </a:ext>
            </a:extLst>
          </p:cNvPr>
          <p:cNvGrpSpPr/>
          <p:nvPr/>
        </p:nvGrpSpPr>
        <p:grpSpPr>
          <a:xfrm>
            <a:off x="4993101" y="1709103"/>
            <a:ext cx="2664100" cy="496409"/>
            <a:chOff x="4993101" y="1709103"/>
            <a:chExt cx="2664100" cy="496409"/>
          </a:xfrm>
        </p:grpSpPr>
        <p:sp>
          <p:nvSpPr>
            <p:cNvPr id="26" name="Textplatzhalter 4">
              <a:extLst>
                <a:ext uri="{FF2B5EF4-FFF2-40B4-BE49-F238E27FC236}">
                  <a16:creationId xmlns:a16="http://schemas.microsoft.com/office/drawing/2014/main" id="{984F84C8-E772-6863-6A93-9F103E2389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1709103"/>
              <a:ext cx="2369127" cy="27902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lang="en-US" sz="2400" b="0" kern="1200" cap="none" baseline="0" dirty="0">
                  <a:solidFill>
                    <a:srgbClr val="EC844A"/>
                  </a:solidFill>
                  <a:latin typeface="Rockwell" panose="02060603020205020403" pitchFamily="18" charset="0"/>
                  <a:ea typeface="+mn-ea"/>
                  <a:cs typeface="DWS Slab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lang="en-US" sz="1200" b="1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Aft>
                  <a:spcPts val="0"/>
                </a:spcAft>
              </a:pPr>
              <a:r>
                <a:rPr lang="de-DE" dirty="0">
                  <a:solidFill>
                    <a:schemeClr val="bg1"/>
                  </a:solidFill>
                </a:rPr>
                <a:t>Website Visits</a:t>
              </a:r>
            </a:p>
          </p:txBody>
        </p:sp>
        <p:sp>
          <p:nvSpPr>
            <p:cNvPr id="35" name="Textplatzhalter 6">
              <a:extLst>
                <a:ext uri="{FF2B5EF4-FFF2-40B4-BE49-F238E27FC236}">
                  <a16:creationId xmlns:a16="http://schemas.microsoft.com/office/drawing/2014/main" id="{B222F0ED-FA11-4E33-2062-EC7852F690F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2051624"/>
              <a:ext cx="171141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VISITS PASSIVE</a:t>
              </a: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B28A6D31-81C3-4B31-AADB-871FEF204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93101" y="1725775"/>
              <a:ext cx="195512" cy="195512"/>
            </a:xfrm>
            <a:prstGeom prst="rect">
              <a:avLst/>
            </a:prstGeom>
          </p:spPr>
        </p:pic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D684A740-2567-0B15-2885-E7992A5F0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43895" y="3039801"/>
            <a:ext cx="224287" cy="224287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541C49DE-B26C-74F8-2193-BC5AD0946BE9}"/>
              </a:ext>
            </a:extLst>
          </p:cNvPr>
          <p:cNvSpPr/>
          <p:nvPr/>
        </p:nvSpPr>
        <p:spPr>
          <a:xfrm>
            <a:off x="4214445" y="3363377"/>
            <a:ext cx="1906032" cy="91616"/>
          </a:xfrm>
          <a:custGeom>
            <a:avLst/>
            <a:gdLst/>
            <a:ahLst/>
            <a:cxnLst/>
            <a:rect l="l" t="t" r="r" b="b"/>
            <a:pathLst>
              <a:path w="1906032" h="91616">
                <a:moveTo>
                  <a:pt x="1543947" y="11021"/>
                </a:moveTo>
                <a:lnTo>
                  <a:pt x="1525868" y="58198"/>
                </a:lnTo>
                <a:lnTo>
                  <a:pt x="1562025" y="58198"/>
                </a:lnTo>
                <a:close/>
                <a:moveTo>
                  <a:pt x="286647" y="11021"/>
                </a:moveTo>
                <a:lnTo>
                  <a:pt x="268568" y="58198"/>
                </a:lnTo>
                <a:lnTo>
                  <a:pt x="304725" y="58198"/>
                </a:lnTo>
                <a:close/>
                <a:moveTo>
                  <a:pt x="1445079" y="7910"/>
                </a:moveTo>
                <a:lnTo>
                  <a:pt x="1445079" y="45816"/>
                </a:lnTo>
                <a:lnTo>
                  <a:pt x="1463412" y="45816"/>
                </a:lnTo>
                <a:cubicBezTo>
                  <a:pt x="1470109" y="45855"/>
                  <a:pt x="1475358" y="44322"/>
                  <a:pt x="1479159" y="41217"/>
                </a:cubicBezTo>
                <a:cubicBezTo>
                  <a:pt x="1482961" y="38112"/>
                  <a:pt x="1484896" y="33204"/>
                  <a:pt x="1484966" y="26491"/>
                </a:cubicBezTo>
                <a:cubicBezTo>
                  <a:pt x="1485028" y="20135"/>
                  <a:pt x="1483356" y="15443"/>
                  <a:pt x="1479949" y="12416"/>
                </a:cubicBezTo>
                <a:cubicBezTo>
                  <a:pt x="1476542" y="9389"/>
                  <a:pt x="1471030" y="7887"/>
                  <a:pt x="1463412" y="7910"/>
                </a:cubicBezTo>
                <a:close/>
                <a:moveTo>
                  <a:pt x="692604" y="7910"/>
                </a:moveTo>
                <a:lnTo>
                  <a:pt x="692604" y="83706"/>
                </a:lnTo>
                <a:lnTo>
                  <a:pt x="708211" y="83706"/>
                </a:lnTo>
                <a:cubicBezTo>
                  <a:pt x="719712" y="83763"/>
                  <a:pt x="728480" y="80708"/>
                  <a:pt x="734516" y="74541"/>
                </a:cubicBezTo>
                <a:cubicBezTo>
                  <a:pt x="740552" y="68375"/>
                  <a:pt x="743591" y="58756"/>
                  <a:pt x="743635" y="45684"/>
                </a:cubicBezTo>
                <a:cubicBezTo>
                  <a:pt x="743658" y="32624"/>
                  <a:pt x="740856" y="23046"/>
                  <a:pt x="735228" y="16951"/>
                </a:cubicBezTo>
                <a:cubicBezTo>
                  <a:pt x="729600" y="10857"/>
                  <a:pt x="721007" y="7843"/>
                  <a:pt x="709449" y="7910"/>
                </a:cubicBezTo>
                <a:close/>
                <a:moveTo>
                  <a:pt x="521154" y="7910"/>
                </a:moveTo>
                <a:lnTo>
                  <a:pt x="521154" y="45816"/>
                </a:lnTo>
                <a:lnTo>
                  <a:pt x="538248" y="45816"/>
                </a:lnTo>
                <a:cubicBezTo>
                  <a:pt x="545972" y="45777"/>
                  <a:pt x="551707" y="44089"/>
                  <a:pt x="555451" y="40752"/>
                </a:cubicBezTo>
                <a:cubicBezTo>
                  <a:pt x="559196" y="37416"/>
                  <a:pt x="561059" y="32662"/>
                  <a:pt x="561041" y="26491"/>
                </a:cubicBezTo>
                <a:cubicBezTo>
                  <a:pt x="561095" y="20297"/>
                  <a:pt x="559407" y="15652"/>
                  <a:pt x="555978" y="12555"/>
                </a:cubicBezTo>
                <a:cubicBezTo>
                  <a:pt x="552548" y="9458"/>
                  <a:pt x="547051" y="7910"/>
                  <a:pt x="539487" y="7910"/>
                </a:cubicBezTo>
                <a:close/>
                <a:moveTo>
                  <a:pt x="444954" y="7910"/>
                </a:moveTo>
                <a:lnTo>
                  <a:pt x="444954" y="45816"/>
                </a:lnTo>
                <a:lnTo>
                  <a:pt x="463287" y="45816"/>
                </a:lnTo>
                <a:cubicBezTo>
                  <a:pt x="469984" y="45855"/>
                  <a:pt x="475233" y="44322"/>
                  <a:pt x="479034" y="41217"/>
                </a:cubicBezTo>
                <a:cubicBezTo>
                  <a:pt x="482836" y="38112"/>
                  <a:pt x="484771" y="33204"/>
                  <a:pt x="484841" y="26491"/>
                </a:cubicBezTo>
                <a:cubicBezTo>
                  <a:pt x="484903" y="20135"/>
                  <a:pt x="483231" y="15443"/>
                  <a:pt x="479824" y="12416"/>
                </a:cubicBezTo>
                <a:cubicBezTo>
                  <a:pt x="476418" y="9389"/>
                  <a:pt x="470905" y="7887"/>
                  <a:pt x="463287" y="7910"/>
                </a:cubicBezTo>
                <a:close/>
                <a:moveTo>
                  <a:pt x="624356" y="6548"/>
                </a:moveTo>
                <a:cubicBezTo>
                  <a:pt x="618875" y="6517"/>
                  <a:pt x="613859" y="7845"/>
                  <a:pt x="609309" y="10534"/>
                </a:cubicBezTo>
                <a:cubicBezTo>
                  <a:pt x="604759" y="13223"/>
                  <a:pt x="601111" y="17460"/>
                  <a:pt x="598364" y="23245"/>
                </a:cubicBezTo>
                <a:cubicBezTo>
                  <a:pt x="595617" y="29030"/>
                  <a:pt x="594207" y="36551"/>
                  <a:pt x="594134" y="45808"/>
                </a:cubicBezTo>
                <a:cubicBezTo>
                  <a:pt x="594207" y="55065"/>
                  <a:pt x="595617" y="62587"/>
                  <a:pt x="598364" y="68372"/>
                </a:cubicBezTo>
                <a:cubicBezTo>
                  <a:pt x="601111" y="74157"/>
                  <a:pt x="604759" y="78394"/>
                  <a:pt x="609309" y="81082"/>
                </a:cubicBezTo>
                <a:cubicBezTo>
                  <a:pt x="613859" y="83771"/>
                  <a:pt x="618875" y="85100"/>
                  <a:pt x="624356" y="85068"/>
                </a:cubicBezTo>
                <a:cubicBezTo>
                  <a:pt x="629837" y="85100"/>
                  <a:pt x="634852" y="83771"/>
                  <a:pt x="639402" y="81082"/>
                </a:cubicBezTo>
                <a:cubicBezTo>
                  <a:pt x="643952" y="78394"/>
                  <a:pt x="647600" y="74157"/>
                  <a:pt x="650347" y="68372"/>
                </a:cubicBezTo>
                <a:cubicBezTo>
                  <a:pt x="653094" y="62587"/>
                  <a:pt x="654504" y="55065"/>
                  <a:pt x="654577" y="45808"/>
                </a:cubicBezTo>
                <a:cubicBezTo>
                  <a:pt x="654504" y="36551"/>
                  <a:pt x="653094" y="29030"/>
                  <a:pt x="650347" y="23245"/>
                </a:cubicBezTo>
                <a:cubicBezTo>
                  <a:pt x="647600" y="17460"/>
                  <a:pt x="643952" y="13223"/>
                  <a:pt x="639402" y="10534"/>
                </a:cubicBezTo>
                <a:cubicBezTo>
                  <a:pt x="634852" y="7845"/>
                  <a:pt x="629837" y="6517"/>
                  <a:pt x="624356" y="6548"/>
                </a:cubicBezTo>
                <a:close/>
                <a:moveTo>
                  <a:pt x="119531" y="6548"/>
                </a:moveTo>
                <a:cubicBezTo>
                  <a:pt x="114050" y="6517"/>
                  <a:pt x="109034" y="7845"/>
                  <a:pt x="104484" y="10534"/>
                </a:cubicBezTo>
                <a:cubicBezTo>
                  <a:pt x="99934" y="13223"/>
                  <a:pt x="96286" y="17460"/>
                  <a:pt x="93539" y="23245"/>
                </a:cubicBezTo>
                <a:cubicBezTo>
                  <a:pt x="90792" y="29030"/>
                  <a:pt x="89382" y="36551"/>
                  <a:pt x="89309" y="45808"/>
                </a:cubicBezTo>
                <a:cubicBezTo>
                  <a:pt x="89382" y="55065"/>
                  <a:pt x="90792" y="62587"/>
                  <a:pt x="93539" y="68372"/>
                </a:cubicBezTo>
                <a:cubicBezTo>
                  <a:pt x="96286" y="74157"/>
                  <a:pt x="99934" y="78394"/>
                  <a:pt x="104484" y="81082"/>
                </a:cubicBezTo>
                <a:cubicBezTo>
                  <a:pt x="109034" y="83771"/>
                  <a:pt x="114050" y="85100"/>
                  <a:pt x="119531" y="85068"/>
                </a:cubicBezTo>
                <a:cubicBezTo>
                  <a:pt x="125012" y="85100"/>
                  <a:pt x="130027" y="83771"/>
                  <a:pt x="134577" y="81082"/>
                </a:cubicBezTo>
                <a:cubicBezTo>
                  <a:pt x="139127" y="78394"/>
                  <a:pt x="142775" y="74157"/>
                  <a:pt x="145522" y="68372"/>
                </a:cubicBezTo>
                <a:cubicBezTo>
                  <a:pt x="148269" y="62587"/>
                  <a:pt x="149679" y="55065"/>
                  <a:pt x="149752" y="45808"/>
                </a:cubicBezTo>
                <a:cubicBezTo>
                  <a:pt x="149679" y="36551"/>
                  <a:pt x="148269" y="29030"/>
                  <a:pt x="145522" y="23245"/>
                </a:cubicBezTo>
                <a:cubicBezTo>
                  <a:pt x="142775" y="17460"/>
                  <a:pt x="139127" y="13223"/>
                  <a:pt x="134577" y="10534"/>
                </a:cubicBezTo>
                <a:cubicBezTo>
                  <a:pt x="130027" y="7845"/>
                  <a:pt x="125012" y="6517"/>
                  <a:pt x="119531" y="6548"/>
                </a:cubicBezTo>
                <a:close/>
                <a:moveTo>
                  <a:pt x="1856517" y="1239"/>
                </a:moveTo>
                <a:lnTo>
                  <a:pt x="1906032" y="1239"/>
                </a:lnTo>
                <a:lnTo>
                  <a:pt x="1906032" y="7910"/>
                </a:lnTo>
                <a:lnTo>
                  <a:pt x="1864179" y="7910"/>
                </a:lnTo>
                <a:lnTo>
                  <a:pt x="1864179" y="40863"/>
                </a:lnTo>
                <a:lnTo>
                  <a:pt x="1901079" y="40863"/>
                </a:lnTo>
                <a:lnTo>
                  <a:pt x="1901079" y="47286"/>
                </a:lnTo>
                <a:lnTo>
                  <a:pt x="1864179" y="47286"/>
                </a:lnTo>
                <a:lnTo>
                  <a:pt x="1864179" y="83706"/>
                </a:lnTo>
                <a:lnTo>
                  <a:pt x="1906032" y="83706"/>
                </a:lnTo>
                <a:lnTo>
                  <a:pt x="1906032" y="90377"/>
                </a:lnTo>
                <a:lnTo>
                  <a:pt x="1856517" y="90377"/>
                </a:lnTo>
                <a:close/>
                <a:moveTo>
                  <a:pt x="1770403" y="1239"/>
                </a:moveTo>
                <a:lnTo>
                  <a:pt x="1779071" y="1239"/>
                </a:lnTo>
                <a:lnTo>
                  <a:pt x="1805694" y="81711"/>
                </a:lnTo>
                <a:lnTo>
                  <a:pt x="1832316" y="1239"/>
                </a:lnTo>
                <a:lnTo>
                  <a:pt x="1840984" y="1239"/>
                </a:lnTo>
                <a:lnTo>
                  <a:pt x="1810028" y="90377"/>
                </a:lnTo>
                <a:lnTo>
                  <a:pt x="1801360" y="90377"/>
                </a:lnTo>
                <a:close/>
                <a:moveTo>
                  <a:pt x="1751742" y="1239"/>
                </a:moveTo>
                <a:lnTo>
                  <a:pt x="1759404" y="1239"/>
                </a:lnTo>
                <a:lnTo>
                  <a:pt x="1759404" y="90377"/>
                </a:lnTo>
                <a:lnTo>
                  <a:pt x="1751742" y="90377"/>
                </a:lnTo>
                <a:close/>
                <a:moveTo>
                  <a:pt x="1539860" y="1239"/>
                </a:moveTo>
                <a:lnTo>
                  <a:pt x="1548033" y="1239"/>
                </a:lnTo>
                <a:lnTo>
                  <a:pt x="1582951" y="90377"/>
                </a:lnTo>
                <a:lnTo>
                  <a:pt x="1574284" y="90377"/>
                </a:lnTo>
                <a:lnTo>
                  <a:pt x="1564378" y="64622"/>
                </a:lnTo>
                <a:lnTo>
                  <a:pt x="1523515" y="64622"/>
                </a:lnTo>
                <a:lnTo>
                  <a:pt x="1513609" y="90377"/>
                </a:lnTo>
                <a:lnTo>
                  <a:pt x="1504942" y="90377"/>
                </a:lnTo>
                <a:close/>
                <a:moveTo>
                  <a:pt x="1437417" y="1239"/>
                </a:moveTo>
                <a:lnTo>
                  <a:pt x="1463412" y="1239"/>
                </a:lnTo>
                <a:cubicBezTo>
                  <a:pt x="1473484" y="1285"/>
                  <a:pt x="1480959" y="3480"/>
                  <a:pt x="1485839" y="7826"/>
                </a:cubicBezTo>
                <a:cubicBezTo>
                  <a:pt x="1490719" y="12172"/>
                  <a:pt x="1493147" y="18394"/>
                  <a:pt x="1493123" y="26491"/>
                </a:cubicBezTo>
                <a:cubicBezTo>
                  <a:pt x="1492953" y="35162"/>
                  <a:pt x="1490138" y="41662"/>
                  <a:pt x="1484678" y="45993"/>
                </a:cubicBezTo>
                <a:cubicBezTo>
                  <a:pt x="1479217" y="50323"/>
                  <a:pt x="1472129" y="52488"/>
                  <a:pt x="1463412" y="52487"/>
                </a:cubicBezTo>
                <a:lnTo>
                  <a:pt x="1445079" y="52487"/>
                </a:lnTo>
                <a:lnTo>
                  <a:pt x="1445079" y="90377"/>
                </a:lnTo>
                <a:lnTo>
                  <a:pt x="1437417" y="90377"/>
                </a:lnTo>
                <a:close/>
                <a:moveTo>
                  <a:pt x="1247774" y="1239"/>
                </a:moveTo>
                <a:lnTo>
                  <a:pt x="1317101" y="1239"/>
                </a:lnTo>
                <a:lnTo>
                  <a:pt x="1317101" y="8158"/>
                </a:lnTo>
                <a:lnTo>
                  <a:pt x="1286269" y="8158"/>
                </a:lnTo>
                <a:lnTo>
                  <a:pt x="1286269" y="90377"/>
                </a:lnTo>
                <a:lnTo>
                  <a:pt x="1278607" y="90377"/>
                </a:lnTo>
                <a:lnTo>
                  <a:pt x="1278607" y="8158"/>
                </a:lnTo>
                <a:lnTo>
                  <a:pt x="1247774" y="8158"/>
                </a:lnTo>
                <a:close/>
                <a:moveTo>
                  <a:pt x="1227867" y="1239"/>
                </a:moveTo>
                <a:lnTo>
                  <a:pt x="1235529" y="1239"/>
                </a:lnTo>
                <a:lnTo>
                  <a:pt x="1235529" y="90377"/>
                </a:lnTo>
                <a:lnTo>
                  <a:pt x="1227867" y="90377"/>
                </a:lnTo>
                <a:close/>
                <a:moveTo>
                  <a:pt x="1123092" y="1239"/>
                </a:moveTo>
                <a:lnTo>
                  <a:pt x="1130754" y="1239"/>
                </a:lnTo>
                <a:lnTo>
                  <a:pt x="1130754" y="90377"/>
                </a:lnTo>
                <a:lnTo>
                  <a:pt x="1123092" y="90377"/>
                </a:lnTo>
                <a:close/>
                <a:moveTo>
                  <a:pt x="1036978" y="1239"/>
                </a:moveTo>
                <a:lnTo>
                  <a:pt x="1045646" y="1239"/>
                </a:lnTo>
                <a:lnTo>
                  <a:pt x="1072269" y="81711"/>
                </a:lnTo>
                <a:lnTo>
                  <a:pt x="1098891" y="1239"/>
                </a:lnTo>
                <a:lnTo>
                  <a:pt x="1107559" y="1239"/>
                </a:lnTo>
                <a:lnTo>
                  <a:pt x="1076602" y="90377"/>
                </a:lnTo>
                <a:lnTo>
                  <a:pt x="1067935" y="90377"/>
                </a:lnTo>
                <a:close/>
                <a:moveTo>
                  <a:pt x="933449" y="1239"/>
                </a:moveTo>
                <a:lnTo>
                  <a:pt x="1002776" y="1239"/>
                </a:lnTo>
                <a:lnTo>
                  <a:pt x="1002776" y="8158"/>
                </a:lnTo>
                <a:lnTo>
                  <a:pt x="971944" y="8158"/>
                </a:lnTo>
                <a:lnTo>
                  <a:pt x="971944" y="90377"/>
                </a:lnTo>
                <a:lnTo>
                  <a:pt x="964282" y="90377"/>
                </a:lnTo>
                <a:lnTo>
                  <a:pt x="964282" y="8158"/>
                </a:lnTo>
                <a:lnTo>
                  <a:pt x="933449" y="8158"/>
                </a:lnTo>
                <a:close/>
                <a:moveTo>
                  <a:pt x="770667" y="1239"/>
                </a:moveTo>
                <a:lnTo>
                  <a:pt x="778329" y="1239"/>
                </a:lnTo>
                <a:lnTo>
                  <a:pt x="778329" y="58570"/>
                </a:lnTo>
                <a:cubicBezTo>
                  <a:pt x="778522" y="67844"/>
                  <a:pt x="780768" y="74556"/>
                  <a:pt x="785064" y="78707"/>
                </a:cubicBezTo>
                <a:cubicBezTo>
                  <a:pt x="789361" y="82858"/>
                  <a:pt x="794548" y="84896"/>
                  <a:pt x="800625" y="84821"/>
                </a:cubicBezTo>
                <a:cubicBezTo>
                  <a:pt x="806703" y="84896"/>
                  <a:pt x="811889" y="82858"/>
                  <a:pt x="816186" y="78707"/>
                </a:cubicBezTo>
                <a:cubicBezTo>
                  <a:pt x="820483" y="74556"/>
                  <a:pt x="822728" y="67844"/>
                  <a:pt x="822921" y="58570"/>
                </a:cubicBezTo>
                <a:lnTo>
                  <a:pt x="822921" y="1239"/>
                </a:lnTo>
                <a:lnTo>
                  <a:pt x="830583" y="1239"/>
                </a:lnTo>
                <a:lnTo>
                  <a:pt x="830583" y="58570"/>
                </a:lnTo>
                <a:cubicBezTo>
                  <a:pt x="830516" y="66384"/>
                  <a:pt x="829138" y="72726"/>
                  <a:pt x="826450" y="77594"/>
                </a:cubicBezTo>
                <a:cubicBezTo>
                  <a:pt x="823761" y="82462"/>
                  <a:pt x="820164" y="86022"/>
                  <a:pt x="815659" y="88276"/>
                </a:cubicBezTo>
                <a:cubicBezTo>
                  <a:pt x="811154" y="90530"/>
                  <a:pt x="806142" y="91643"/>
                  <a:pt x="800625" y="91616"/>
                </a:cubicBezTo>
                <a:cubicBezTo>
                  <a:pt x="795108" y="91643"/>
                  <a:pt x="790097" y="90530"/>
                  <a:pt x="785591" y="88276"/>
                </a:cubicBezTo>
                <a:cubicBezTo>
                  <a:pt x="781086" y="86022"/>
                  <a:pt x="777489" y="82462"/>
                  <a:pt x="774801" y="77594"/>
                </a:cubicBezTo>
                <a:cubicBezTo>
                  <a:pt x="772112" y="72726"/>
                  <a:pt x="770734" y="66384"/>
                  <a:pt x="770667" y="58570"/>
                </a:cubicBezTo>
                <a:close/>
                <a:moveTo>
                  <a:pt x="684942" y="1239"/>
                </a:moveTo>
                <a:lnTo>
                  <a:pt x="709697" y="1239"/>
                </a:lnTo>
                <a:cubicBezTo>
                  <a:pt x="723427" y="1233"/>
                  <a:pt x="733865" y="4925"/>
                  <a:pt x="741010" y="12315"/>
                </a:cubicBezTo>
                <a:cubicBezTo>
                  <a:pt x="748155" y="19705"/>
                  <a:pt x="751749" y="30828"/>
                  <a:pt x="751792" y="45684"/>
                </a:cubicBezTo>
                <a:cubicBezTo>
                  <a:pt x="751674" y="60551"/>
                  <a:pt x="747827" y="71715"/>
                  <a:pt x="740251" y="79177"/>
                </a:cubicBezTo>
                <a:cubicBezTo>
                  <a:pt x="732675" y="86640"/>
                  <a:pt x="722077" y="90373"/>
                  <a:pt x="708458" y="90377"/>
                </a:cubicBezTo>
                <a:lnTo>
                  <a:pt x="684942" y="90377"/>
                </a:lnTo>
                <a:close/>
                <a:moveTo>
                  <a:pt x="513492" y="1239"/>
                </a:moveTo>
                <a:lnTo>
                  <a:pt x="539487" y="1239"/>
                </a:lnTo>
                <a:cubicBezTo>
                  <a:pt x="549613" y="1285"/>
                  <a:pt x="557104" y="3480"/>
                  <a:pt x="561961" y="7826"/>
                </a:cubicBezTo>
                <a:cubicBezTo>
                  <a:pt x="566817" y="12172"/>
                  <a:pt x="569230" y="18394"/>
                  <a:pt x="569198" y="26491"/>
                </a:cubicBezTo>
                <a:cubicBezTo>
                  <a:pt x="569163" y="34099"/>
                  <a:pt x="567008" y="40002"/>
                  <a:pt x="562735" y="44199"/>
                </a:cubicBezTo>
                <a:cubicBezTo>
                  <a:pt x="558461" y="48397"/>
                  <a:pt x="552281" y="50953"/>
                  <a:pt x="544194" y="51869"/>
                </a:cubicBezTo>
                <a:lnTo>
                  <a:pt x="576627" y="90377"/>
                </a:lnTo>
                <a:lnTo>
                  <a:pt x="566603" y="90377"/>
                </a:lnTo>
                <a:lnTo>
                  <a:pt x="534904" y="52487"/>
                </a:lnTo>
                <a:lnTo>
                  <a:pt x="521154" y="52487"/>
                </a:lnTo>
                <a:lnTo>
                  <a:pt x="521154" y="90377"/>
                </a:lnTo>
                <a:lnTo>
                  <a:pt x="513492" y="90377"/>
                </a:lnTo>
                <a:close/>
                <a:moveTo>
                  <a:pt x="437292" y="1239"/>
                </a:moveTo>
                <a:lnTo>
                  <a:pt x="463287" y="1239"/>
                </a:lnTo>
                <a:cubicBezTo>
                  <a:pt x="473359" y="1285"/>
                  <a:pt x="480834" y="3480"/>
                  <a:pt x="485714" y="7826"/>
                </a:cubicBezTo>
                <a:cubicBezTo>
                  <a:pt x="490594" y="12172"/>
                  <a:pt x="493022" y="18394"/>
                  <a:pt x="492998" y="26491"/>
                </a:cubicBezTo>
                <a:cubicBezTo>
                  <a:pt x="492828" y="35162"/>
                  <a:pt x="490013" y="41662"/>
                  <a:pt x="484553" y="45993"/>
                </a:cubicBezTo>
                <a:cubicBezTo>
                  <a:pt x="479092" y="50323"/>
                  <a:pt x="472004" y="52488"/>
                  <a:pt x="463287" y="52487"/>
                </a:cubicBezTo>
                <a:lnTo>
                  <a:pt x="444954" y="52487"/>
                </a:lnTo>
                <a:lnTo>
                  <a:pt x="444954" y="90377"/>
                </a:lnTo>
                <a:lnTo>
                  <a:pt x="437292" y="90377"/>
                </a:lnTo>
                <a:close/>
                <a:moveTo>
                  <a:pt x="342042" y="1239"/>
                </a:moveTo>
                <a:lnTo>
                  <a:pt x="349704" y="1239"/>
                </a:lnTo>
                <a:lnTo>
                  <a:pt x="349704" y="83706"/>
                </a:lnTo>
                <a:lnTo>
                  <a:pt x="389080" y="83706"/>
                </a:lnTo>
                <a:lnTo>
                  <a:pt x="389080" y="90377"/>
                </a:lnTo>
                <a:lnTo>
                  <a:pt x="342042" y="90377"/>
                </a:lnTo>
                <a:close/>
                <a:moveTo>
                  <a:pt x="282560" y="1239"/>
                </a:moveTo>
                <a:lnTo>
                  <a:pt x="290733" y="1239"/>
                </a:lnTo>
                <a:lnTo>
                  <a:pt x="325652" y="90377"/>
                </a:lnTo>
                <a:lnTo>
                  <a:pt x="316984" y="90377"/>
                </a:lnTo>
                <a:lnTo>
                  <a:pt x="307078" y="64622"/>
                </a:lnTo>
                <a:lnTo>
                  <a:pt x="266216" y="64622"/>
                </a:lnTo>
                <a:lnTo>
                  <a:pt x="256310" y="90377"/>
                </a:lnTo>
                <a:lnTo>
                  <a:pt x="247642" y="90377"/>
                </a:lnTo>
                <a:close/>
                <a:moveTo>
                  <a:pt x="171450" y="1239"/>
                </a:moveTo>
                <a:lnTo>
                  <a:pt x="240776" y="1239"/>
                </a:lnTo>
                <a:lnTo>
                  <a:pt x="240776" y="8158"/>
                </a:lnTo>
                <a:lnTo>
                  <a:pt x="209944" y="8158"/>
                </a:lnTo>
                <a:lnTo>
                  <a:pt x="209944" y="90377"/>
                </a:lnTo>
                <a:lnTo>
                  <a:pt x="202282" y="90377"/>
                </a:lnTo>
                <a:lnTo>
                  <a:pt x="202282" y="8158"/>
                </a:lnTo>
                <a:lnTo>
                  <a:pt x="171450" y="8158"/>
                </a:lnTo>
                <a:close/>
                <a:moveTo>
                  <a:pt x="0" y="1239"/>
                </a:moveTo>
                <a:lnTo>
                  <a:pt x="69326" y="1239"/>
                </a:lnTo>
                <a:lnTo>
                  <a:pt x="69326" y="8158"/>
                </a:lnTo>
                <a:lnTo>
                  <a:pt x="38494" y="8158"/>
                </a:lnTo>
                <a:lnTo>
                  <a:pt x="38494" y="90377"/>
                </a:lnTo>
                <a:lnTo>
                  <a:pt x="30832" y="90377"/>
                </a:lnTo>
                <a:lnTo>
                  <a:pt x="30832" y="8158"/>
                </a:lnTo>
                <a:lnTo>
                  <a:pt x="0" y="8158"/>
                </a:lnTo>
                <a:close/>
                <a:moveTo>
                  <a:pt x="1699309" y="1"/>
                </a:moveTo>
                <a:cubicBezTo>
                  <a:pt x="1708346" y="90"/>
                  <a:pt x="1715104" y="2260"/>
                  <a:pt x="1719584" y="6510"/>
                </a:cubicBezTo>
                <a:cubicBezTo>
                  <a:pt x="1724064" y="10760"/>
                  <a:pt x="1726301" y="16552"/>
                  <a:pt x="1726295" y="23887"/>
                </a:cubicBezTo>
                <a:lnTo>
                  <a:pt x="1718633" y="23887"/>
                </a:lnTo>
                <a:cubicBezTo>
                  <a:pt x="1718595" y="18283"/>
                  <a:pt x="1716907" y="13979"/>
                  <a:pt x="1713570" y="10975"/>
                </a:cubicBezTo>
                <a:cubicBezTo>
                  <a:pt x="1710233" y="7972"/>
                  <a:pt x="1705479" y="6455"/>
                  <a:pt x="1699308" y="6424"/>
                </a:cubicBezTo>
                <a:cubicBezTo>
                  <a:pt x="1693572" y="6478"/>
                  <a:pt x="1688942" y="8042"/>
                  <a:pt x="1685419" y="11115"/>
                </a:cubicBezTo>
                <a:cubicBezTo>
                  <a:pt x="1681897" y="14188"/>
                  <a:pt x="1680085" y="18445"/>
                  <a:pt x="1679984" y="23887"/>
                </a:cubicBezTo>
                <a:cubicBezTo>
                  <a:pt x="1680115" y="28665"/>
                  <a:pt x="1681806" y="32331"/>
                  <a:pt x="1685058" y="34884"/>
                </a:cubicBezTo>
                <a:cubicBezTo>
                  <a:pt x="1688311" y="37437"/>
                  <a:pt x="1692344" y="39485"/>
                  <a:pt x="1697158" y="41029"/>
                </a:cubicBezTo>
                <a:cubicBezTo>
                  <a:pt x="1701971" y="42574"/>
                  <a:pt x="1706785" y="44222"/>
                  <a:pt x="1711598" y="45975"/>
                </a:cubicBezTo>
                <a:cubicBezTo>
                  <a:pt x="1716412" y="47727"/>
                  <a:pt x="1720445" y="50192"/>
                  <a:pt x="1723698" y="53369"/>
                </a:cubicBezTo>
                <a:cubicBezTo>
                  <a:pt x="1726950" y="56546"/>
                  <a:pt x="1728641" y="61044"/>
                  <a:pt x="1728771" y="66863"/>
                </a:cubicBezTo>
                <a:cubicBezTo>
                  <a:pt x="1728695" y="72627"/>
                  <a:pt x="1727309" y="77335"/>
                  <a:pt x="1724615" y="80986"/>
                </a:cubicBezTo>
                <a:cubicBezTo>
                  <a:pt x="1721921" y="84638"/>
                  <a:pt x="1718381" y="87326"/>
                  <a:pt x="1713994" y="89051"/>
                </a:cubicBezTo>
                <a:cubicBezTo>
                  <a:pt x="1709607" y="90776"/>
                  <a:pt x="1704836" y="91631"/>
                  <a:pt x="1699680" y="91616"/>
                </a:cubicBezTo>
                <a:cubicBezTo>
                  <a:pt x="1690180" y="91591"/>
                  <a:pt x="1682771" y="89447"/>
                  <a:pt x="1677455" y="85184"/>
                </a:cubicBezTo>
                <a:cubicBezTo>
                  <a:pt x="1672139" y="80921"/>
                  <a:pt x="1669438" y="74690"/>
                  <a:pt x="1669351" y="66491"/>
                </a:cubicBezTo>
                <a:lnTo>
                  <a:pt x="1677013" y="66491"/>
                </a:lnTo>
                <a:cubicBezTo>
                  <a:pt x="1677113" y="72732"/>
                  <a:pt x="1679204" y="77372"/>
                  <a:pt x="1683284" y="80409"/>
                </a:cubicBezTo>
                <a:cubicBezTo>
                  <a:pt x="1687363" y="83445"/>
                  <a:pt x="1692829" y="84957"/>
                  <a:pt x="1699680" y="84945"/>
                </a:cubicBezTo>
                <a:cubicBezTo>
                  <a:pt x="1705593" y="84981"/>
                  <a:pt x="1710522" y="83546"/>
                  <a:pt x="1714468" y="80641"/>
                </a:cubicBezTo>
                <a:cubicBezTo>
                  <a:pt x="1718413" y="77735"/>
                  <a:pt x="1720462" y="73143"/>
                  <a:pt x="1720614" y="66863"/>
                </a:cubicBezTo>
                <a:cubicBezTo>
                  <a:pt x="1720484" y="62385"/>
                  <a:pt x="1718793" y="58989"/>
                  <a:pt x="1715540" y="56674"/>
                </a:cubicBezTo>
                <a:cubicBezTo>
                  <a:pt x="1712287" y="54359"/>
                  <a:pt x="1708254" y="52493"/>
                  <a:pt x="1703440" y="51075"/>
                </a:cubicBezTo>
                <a:cubicBezTo>
                  <a:pt x="1698626" y="49658"/>
                  <a:pt x="1693812" y="48057"/>
                  <a:pt x="1688998" y="46273"/>
                </a:cubicBezTo>
                <a:cubicBezTo>
                  <a:pt x="1684184" y="44489"/>
                  <a:pt x="1680152" y="41889"/>
                  <a:pt x="1676899" y="38474"/>
                </a:cubicBezTo>
                <a:cubicBezTo>
                  <a:pt x="1673647" y="35059"/>
                  <a:pt x="1671957" y="30197"/>
                  <a:pt x="1671827" y="23887"/>
                </a:cubicBezTo>
                <a:cubicBezTo>
                  <a:pt x="1672013" y="15956"/>
                  <a:pt x="1674673" y="9993"/>
                  <a:pt x="1679808" y="5999"/>
                </a:cubicBezTo>
                <a:cubicBezTo>
                  <a:pt x="1684943" y="2005"/>
                  <a:pt x="1691443" y="5"/>
                  <a:pt x="1699309" y="1"/>
                </a:cubicBezTo>
                <a:close/>
                <a:moveTo>
                  <a:pt x="1623109" y="1"/>
                </a:moveTo>
                <a:cubicBezTo>
                  <a:pt x="1632146" y="90"/>
                  <a:pt x="1638904" y="2260"/>
                  <a:pt x="1643384" y="6510"/>
                </a:cubicBezTo>
                <a:cubicBezTo>
                  <a:pt x="1647864" y="10760"/>
                  <a:pt x="1650101" y="16552"/>
                  <a:pt x="1650095" y="23887"/>
                </a:cubicBezTo>
                <a:lnTo>
                  <a:pt x="1642433" y="23887"/>
                </a:lnTo>
                <a:cubicBezTo>
                  <a:pt x="1642395" y="18283"/>
                  <a:pt x="1640707" y="13979"/>
                  <a:pt x="1637370" y="10975"/>
                </a:cubicBezTo>
                <a:cubicBezTo>
                  <a:pt x="1634033" y="7972"/>
                  <a:pt x="1629279" y="6455"/>
                  <a:pt x="1623108" y="6424"/>
                </a:cubicBezTo>
                <a:cubicBezTo>
                  <a:pt x="1617372" y="6478"/>
                  <a:pt x="1612742" y="8042"/>
                  <a:pt x="1609219" y="11115"/>
                </a:cubicBezTo>
                <a:cubicBezTo>
                  <a:pt x="1605697" y="14188"/>
                  <a:pt x="1603885" y="18445"/>
                  <a:pt x="1603784" y="23887"/>
                </a:cubicBezTo>
                <a:cubicBezTo>
                  <a:pt x="1603915" y="28665"/>
                  <a:pt x="1605606" y="32331"/>
                  <a:pt x="1608858" y="34884"/>
                </a:cubicBezTo>
                <a:cubicBezTo>
                  <a:pt x="1612111" y="37437"/>
                  <a:pt x="1616144" y="39485"/>
                  <a:pt x="1620957" y="41029"/>
                </a:cubicBezTo>
                <a:cubicBezTo>
                  <a:pt x="1625771" y="42574"/>
                  <a:pt x="1630585" y="44222"/>
                  <a:pt x="1635398" y="45975"/>
                </a:cubicBezTo>
                <a:cubicBezTo>
                  <a:pt x="1640212" y="47727"/>
                  <a:pt x="1644245" y="50192"/>
                  <a:pt x="1647498" y="53369"/>
                </a:cubicBezTo>
                <a:cubicBezTo>
                  <a:pt x="1650750" y="56546"/>
                  <a:pt x="1652441" y="61044"/>
                  <a:pt x="1652571" y="66863"/>
                </a:cubicBezTo>
                <a:cubicBezTo>
                  <a:pt x="1652495" y="72627"/>
                  <a:pt x="1651109" y="77335"/>
                  <a:pt x="1648415" y="80986"/>
                </a:cubicBezTo>
                <a:cubicBezTo>
                  <a:pt x="1645721" y="84638"/>
                  <a:pt x="1642181" y="87326"/>
                  <a:pt x="1637794" y="89051"/>
                </a:cubicBezTo>
                <a:cubicBezTo>
                  <a:pt x="1633407" y="90776"/>
                  <a:pt x="1628636" y="91631"/>
                  <a:pt x="1623480" y="91616"/>
                </a:cubicBezTo>
                <a:cubicBezTo>
                  <a:pt x="1613980" y="91591"/>
                  <a:pt x="1606571" y="89447"/>
                  <a:pt x="1601255" y="85184"/>
                </a:cubicBezTo>
                <a:cubicBezTo>
                  <a:pt x="1595939" y="80921"/>
                  <a:pt x="1593238" y="74690"/>
                  <a:pt x="1593151" y="66491"/>
                </a:cubicBezTo>
                <a:lnTo>
                  <a:pt x="1600813" y="66491"/>
                </a:lnTo>
                <a:cubicBezTo>
                  <a:pt x="1600913" y="72732"/>
                  <a:pt x="1603004" y="77372"/>
                  <a:pt x="1607084" y="80409"/>
                </a:cubicBezTo>
                <a:cubicBezTo>
                  <a:pt x="1611163" y="83445"/>
                  <a:pt x="1616629" y="84957"/>
                  <a:pt x="1623480" y="84945"/>
                </a:cubicBezTo>
                <a:cubicBezTo>
                  <a:pt x="1629393" y="84981"/>
                  <a:pt x="1634322" y="83546"/>
                  <a:pt x="1638267" y="80641"/>
                </a:cubicBezTo>
                <a:cubicBezTo>
                  <a:pt x="1642213" y="77735"/>
                  <a:pt x="1644262" y="73143"/>
                  <a:pt x="1644415" y="66863"/>
                </a:cubicBezTo>
                <a:cubicBezTo>
                  <a:pt x="1644284" y="62385"/>
                  <a:pt x="1642593" y="58989"/>
                  <a:pt x="1639340" y="56674"/>
                </a:cubicBezTo>
                <a:cubicBezTo>
                  <a:pt x="1636087" y="54359"/>
                  <a:pt x="1632054" y="52493"/>
                  <a:pt x="1627240" y="51075"/>
                </a:cubicBezTo>
                <a:cubicBezTo>
                  <a:pt x="1622426" y="49658"/>
                  <a:pt x="1617612" y="48057"/>
                  <a:pt x="1612798" y="46273"/>
                </a:cubicBezTo>
                <a:cubicBezTo>
                  <a:pt x="1607984" y="44489"/>
                  <a:pt x="1603952" y="41889"/>
                  <a:pt x="1600699" y="38474"/>
                </a:cubicBezTo>
                <a:cubicBezTo>
                  <a:pt x="1597447" y="35059"/>
                  <a:pt x="1595756" y="30197"/>
                  <a:pt x="1595628" y="23887"/>
                </a:cubicBezTo>
                <a:cubicBezTo>
                  <a:pt x="1595813" y="15956"/>
                  <a:pt x="1598473" y="9993"/>
                  <a:pt x="1603608" y="5999"/>
                </a:cubicBezTo>
                <a:cubicBezTo>
                  <a:pt x="1608743" y="2005"/>
                  <a:pt x="1615244" y="5"/>
                  <a:pt x="1623109" y="1"/>
                </a:cubicBezTo>
                <a:close/>
                <a:moveTo>
                  <a:pt x="1356409" y="1"/>
                </a:moveTo>
                <a:cubicBezTo>
                  <a:pt x="1365446" y="90"/>
                  <a:pt x="1372204" y="2260"/>
                  <a:pt x="1376684" y="6510"/>
                </a:cubicBezTo>
                <a:cubicBezTo>
                  <a:pt x="1381164" y="10760"/>
                  <a:pt x="1383401" y="16552"/>
                  <a:pt x="1383395" y="23887"/>
                </a:cubicBezTo>
                <a:lnTo>
                  <a:pt x="1375733" y="23887"/>
                </a:lnTo>
                <a:cubicBezTo>
                  <a:pt x="1375695" y="18283"/>
                  <a:pt x="1374007" y="13979"/>
                  <a:pt x="1370670" y="10975"/>
                </a:cubicBezTo>
                <a:cubicBezTo>
                  <a:pt x="1367333" y="7972"/>
                  <a:pt x="1362579" y="6455"/>
                  <a:pt x="1356408" y="6424"/>
                </a:cubicBezTo>
                <a:cubicBezTo>
                  <a:pt x="1350672" y="6478"/>
                  <a:pt x="1346042" y="8042"/>
                  <a:pt x="1342519" y="11115"/>
                </a:cubicBezTo>
                <a:cubicBezTo>
                  <a:pt x="1338997" y="14188"/>
                  <a:pt x="1337185" y="18445"/>
                  <a:pt x="1337084" y="23887"/>
                </a:cubicBezTo>
                <a:cubicBezTo>
                  <a:pt x="1337215" y="28665"/>
                  <a:pt x="1338906" y="32331"/>
                  <a:pt x="1342158" y="34884"/>
                </a:cubicBezTo>
                <a:cubicBezTo>
                  <a:pt x="1345411" y="37437"/>
                  <a:pt x="1349444" y="39485"/>
                  <a:pt x="1354258" y="41029"/>
                </a:cubicBezTo>
                <a:cubicBezTo>
                  <a:pt x="1359071" y="42574"/>
                  <a:pt x="1363885" y="44222"/>
                  <a:pt x="1368698" y="45975"/>
                </a:cubicBezTo>
                <a:cubicBezTo>
                  <a:pt x="1373512" y="47727"/>
                  <a:pt x="1377545" y="50192"/>
                  <a:pt x="1380798" y="53369"/>
                </a:cubicBezTo>
                <a:cubicBezTo>
                  <a:pt x="1384050" y="56546"/>
                  <a:pt x="1385741" y="61044"/>
                  <a:pt x="1385871" y="66863"/>
                </a:cubicBezTo>
                <a:cubicBezTo>
                  <a:pt x="1385794" y="72627"/>
                  <a:pt x="1384409" y="77335"/>
                  <a:pt x="1381715" y="80986"/>
                </a:cubicBezTo>
                <a:cubicBezTo>
                  <a:pt x="1379021" y="84638"/>
                  <a:pt x="1375481" y="87326"/>
                  <a:pt x="1371094" y="89051"/>
                </a:cubicBezTo>
                <a:cubicBezTo>
                  <a:pt x="1366707" y="90776"/>
                  <a:pt x="1361936" y="91631"/>
                  <a:pt x="1356780" y="91616"/>
                </a:cubicBezTo>
                <a:cubicBezTo>
                  <a:pt x="1347279" y="91591"/>
                  <a:pt x="1339871" y="89447"/>
                  <a:pt x="1334555" y="85184"/>
                </a:cubicBezTo>
                <a:cubicBezTo>
                  <a:pt x="1329239" y="80921"/>
                  <a:pt x="1326538" y="74690"/>
                  <a:pt x="1326451" y="66491"/>
                </a:cubicBezTo>
                <a:lnTo>
                  <a:pt x="1334113" y="66491"/>
                </a:lnTo>
                <a:cubicBezTo>
                  <a:pt x="1334213" y="72732"/>
                  <a:pt x="1336304" y="77372"/>
                  <a:pt x="1340383" y="80409"/>
                </a:cubicBezTo>
                <a:cubicBezTo>
                  <a:pt x="1344463" y="83445"/>
                  <a:pt x="1349929" y="84957"/>
                  <a:pt x="1356780" y="84945"/>
                </a:cubicBezTo>
                <a:cubicBezTo>
                  <a:pt x="1362693" y="84981"/>
                  <a:pt x="1367622" y="83546"/>
                  <a:pt x="1371567" y="80641"/>
                </a:cubicBezTo>
                <a:cubicBezTo>
                  <a:pt x="1375513" y="77735"/>
                  <a:pt x="1377562" y="73143"/>
                  <a:pt x="1377715" y="66863"/>
                </a:cubicBezTo>
                <a:cubicBezTo>
                  <a:pt x="1377584" y="62385"/>
                  <a:pt x="1375893" y="58989"/>
                  <a:pt x="1372640" y="56674"/>
                </a:cubicBezTo>
                <a:cubicBezTo>
                  <a:pt x="1369387" y="54359"/>
                  <a:pt x="1365354" y="52493"/>
                  <a:pt x="1360540" y="51075"/>
                </a:cubicBezTo>
                <a:cubicBezTo>
                  <a:pt x="1355726" y="49658"/>
                  <a:pt x="1350912" y="48057"/>
                  <a:pt x="1346098" y="46273"/>
                </a:cubicBezTo>
                <a:cubicBezTo>
                  <a:pt x="1341284" y="44489"/>
                  <a:pt x="1337251" y="41889"/>
                  <a:pt x="1333999" y="38474"/>
                </a:cubicBezTo>
                <a:cubicBezTo>
                  <a:pt x="1330747" y="35059"/>
                  <a:pt x="1329057" y="30197"/>
                  <a:pt x="1328927" y="23887"/>
                </a:cubicBezTo>
                <a:cubicBezTo>
                  <a:pt x="1329112" y="15956"/>
                  <a:pt x="1331773" y="9993"/>
                  <a:pt x="1336908" y="5999"/>
                </a:cubicBezTo>
                <a:cubicBezTo>
                  <a:pt x="1342043" y="2005"/>
                  <a:pt x="1348543" y="5"/>
                  <a:pt x="1356409" y="1"/>
                </a:cubicBezTo>
                <a:close/>
                <a:moveTo>
                  <a:pt x="1175434" y="1"/>
                </a:moveTo>
                <a:cubicBezTo>
                  <a:pt x="1184471" y="90"/>
                  <a:pt x="1191229" y="2260"/>
                  <a:pt x="1195709" y="6510"/>
                </a:cubicBezTo>
                <a:cubicBezTo>
                  <a:pt x="1200189" y="10760"/>
                  <a:pt x="1202426" y="16552"/>
                  <a:pt x="1202420" y="23887"/>
                </a:cubicBezTo>
                <a:lnTo>
                  <a:pt x="1194758" y="23887"/>
                </a:lnTo>
                <a:cubicBezTo>
                  <a:pt x="1194720" y="18283"/>
                  <a:pt x="1193032" y="13979"/>
                  <a:pt x="1189695" y="10975"/>
                </a:cubicBezTo>
                <a:cubicBezTo>
                  <a:pt x="1186358" y="7972"/>
                  <a:pt x="1181604" y="6455"/>
                  <a:pt x="1175433" y="6424"/>
                </a:cubicBezTo>
                <a:cubicBezTo>
                  <a:pt x="1169697" y="6478"/>
                  <a:pt x="1165067" y="8042"/>
                  <a:pt x="1161544" y="11115"/>
                </a:cubicBezTo>
                <a:cubicBezTo>
                  <a:pt x="1158022" y="14188"/>
                  <a:pt x="1156210" y="18445"/>
                  <a:pt x="1156109" y="23887"/>
                </a:cubicBezTo>
                <a:cubicBezTo>
                  <a:pt x="1156240" y="28665"/>
                  <a:pt x="1157931" y="32331"/>
                  <a:pt x="1161183" y="34884"/>
                </a:cubicBezTo>
                <a:cubicBezTo>
                  <a:pt x="1164436" y="37437"/>
                  <a:pt x="1168469" y="39485"/>
                  <a:pt x="1173282" y="41029"/>
                </a:cubicBezTo>
                <a:cubicBezTo>
                  <a:pt x="1178096" y="42574"/>
                  <a:pt x="1182910" y="44222"/>
                  <a:pt x="1187723" y="45975"/>
                </a:cubicBezTo>
                <a:cubicBezTo>
                  <a:pt x="1192537" y="47727"/>
                  <a:pt x="1196570" y="50192"/>
                  <a:pt x="1199823" y="53369"/>
                </a:cubicBezTo>
                <a:cubicBezTo>
                  <a:pt x="1203075" y="56546"/>
                  <a:pt x="1204766" y="61044"/>
                  <a:pt x="1204897" y="66863"/>
                </a:cubicBezTo>
                <a:cubicBezTo>
                  <a:pt x="1204819" y="72627"/>
                  <a:pt x="1203434" y="77335"/>
                  <a:pt x="1200740" y="80986"/>
                </a:cubicBezTo>
                <a:cubicBezTo>
                  <a:pt x="1198046" y="84638"/>
                  <a:pt x="1194506" y="87326"/>
                  <a:pt x="1190119" y="89051"/>
                </a:cubicBezTo>
                <a:cubicBezTo>
                  <a:pt x="1185732" y="90776"/>
                  <a:pt x="1180961" y="91631"/>
                  <a:pt x="1175805" y="91616"/>
                </a:cubicBezTo>
                <a:cubicBezTo>
                  <a:pt x="1166305" y="91591"/>
                  <a:pt x="1158896" y="89447"/>
                  <a:pt x="1153580" y="85184"/>
                </a:cubicBezTo>
                <a:cubicBezTo>
                  <a:pt x="1148264" y="80921"/>
                  <a:pt x="1145563" y="74690"/>
                  <a:pt x="1145476" y="66491"/>
                </a:cubicBezTo>
                <a:lnTo>
                  <a:pt x="1153138" y="66491"/>
                </a:lnTo>
                <a:cubicBezTo>
                  <a:pt x="1153238" y="72732"/>
                  <a:pt x="1155329" y="77372"/>
                  <a:pt x="1159408" y="80409"/>
                </a:cubicBezTo>
                <a:cubicBezTo>
                  <a:pt x="1163488" y="83445"/>
                  <a:pt x="1168954" y="84957"/>
                  <a:pt x="1175805" y="84945"/>
                </a:cubicBezTo>
                <a:cubicBezTo>
                  <a:pt x="1181718" y="84981"/>
                  <a:pt x="1186647" y="83546"/>
                  <a:pt x="1190592" y="80641"/>
                </a:cubicBezTo>
                <a:cubicBezTo>
                  <a:pt x="1194538" y="77735"/>
                  <a:pt x="1196587" y="73143"/>
                  <a:pt x="1196740" y="66863"/>
                </a:cubicBezTo>
                <a:cubicBezTo>
                  <a:pt x="1196609" y="62385"/>
                  <a:pt x="1194918" y="58989"/>
                  <a:pt x="1191665" y="56674"/>
                </a:cubicBezTo>
                <a:cubicBezTo>
                  <a:pt x="1188412" y="54359"/>
                  <a:pt x="1184379" y="52493"/>
                  <a:pt x="1179565" y="51075"/>
                </a:cubicBezTo>
                <a:cubicBezTo>
                  <a:pt x="1174751" y="49658"/>
                  <a:pt x="1169937" y="48057"/>
                  <a:pt x="1165123" y="46273"/>
                </a:cubicBezTo>
                <a:cubicBezTo>
                  <a:pt x="1160310" y="44489"/>
                  <a:pt x="1156277" y="41889"/>
                  <a:pt x="1153024" y="38474"/>
                </a:cubicBezTo>
                <a:cubicBezTo>
                  <a:pt x="1149772" y="35059"/>
                  <a:pt x="1148082" y="30197"/>
                  <a:pt x="1147952" y="23887"/>
                </a:cubicBezTo>
                <a:cubicBezTo>
                  <a:pt x="1148137" y="15956"/>
                  <a:pt x="1150798" y="9993"/>
                  <a:pt x="1155933" y="5999"/>
                </a:cubicBezTo>
                <a:cubicBezTo>
                  <a:pt x="1161068" y="2005"/>
                  <a:pt x="1167569" y="5"/>
                  <a:pt x="1175434" y="1"/>
                </a:cubicBezTo>
                <a:close/>
                <a:moveTo>
                  <a:pt x="889818" y="1"/>
                </a:moveTo>
                <a:cubicBezTo>
                  <a:pt x="899669" y="193"/>
                  <a:pt x="907273" y="2776"/>
                  <a:pt x="912631" y="7748"/>
                </a:cubicBezTo>
                <a:cubicBezTo>
                  <a:pt x="917988" y="12721"/>
                  <a:pt x="920699" y="18926"/>
                  <a:pt x="920766" y="26364"/>
                </a:cubicBezTo>
                <a:lnTo>
                  <a:pt x="913104" y="26364"/>
                </a:lnTo>
                <a:cubicBezTo>
                  <a:pt x="913078" y="20721"/>
                  <a:pt x="911086" y="16061"/>
                  <a:pt x="907128" y="12384"/>
                </a:cubicBezTo>
                <a:cubicBezTo>
                  <a:pt x="903169" y="8707"/>
                  <a:pt x="897399" y="6803"/>
                  <a:pt x="889818" y="6672"/>
                </a:cubicBezTo>
                <a:cubicBezTo>
                  <a:pt x="884508" y="6662"/>
                  <a:pt x="879673" y="8071"/>
                  <a:pt x="875312" y="10901"/>
                </a:cubicBezTo>
                <a:cubicBezTo>
                  <a:pt x="870952" y="13730"/>
                  <a:pt x="867466" y="18039"/>
                  <a:pt x="864853" y="23827"/>
                </a:cubicBezTo>
                <a:cubicBezTo>
                  <a:pt x="862240" y="29615"/>
                  <a:pt x="860901" y="36942"/>
                  <a:pt x="860834" y="45808"/>
                </a:cubicBezTo>
                <a:cubicBezTo>
                  <a:pt x="860906" y="54866"/>
                  <a:pt x="862250" y="62263"/>
                  <a:pt x="864867" y="68000"/>
                </a:cubicBezTo>
                <a:cubicBezTo>
                  <a:pt x="867484" y="73737"/>
                  <a:pt x="870947" y="77960"/>
                  <a:pt x="875257" y="80670"/>
                </a:cubicBezTo>
                <a:cubicBezTo>
                  <a:pt x="879567" y="83379"/>
                  <a:pt x="884297" y="84721"/>
                  <a:pt x="889446" y="84697"/>
                </a:cubicBezTo>
                <a:cubicBezTo>
                  <a:pt x="896826" y="84648"/>
                  <a:pt x="902596" y="82733"/>
                  <a:pt x="906756" y="78953"/>
                </a:cubicBezTo>
                <a:cubicBezTo>
                  <a:pt x="910916" y="75173"/>
                  <a:pt x="913032" y="69822"/>
                  <a:pt x="913104" y="62899"/>
                </a:cubicBezTo>
                <a:lnTo>
                  <a:pt x="920766" y="62899"/>
                </a:lnTo>
                <a:cubicBezTo>
                  <a:pt x="920699" y="71519"/>
                  <a:pt x="917957" y="78426"/>
                  <a:pt x="912538" y="83620"/>
                </a:cubicBezTo>
                <a:cubicBezTo>
                  <a:pt x="907119" y="88814"/>
                  <a:pt x="899422" y="91480"/>
                  <a:pt x="889446" y="91616"/>
                </a:cubicBezTo>
                <a:cubicBezTo>
                  <a:pt x="882753" y="91630"/>
                  <a:pt x="876640" y="89993"/>
                  <a:pt x="871106" y="86703"/>
                </a:cubicBezTo>
                <a:cubicBezTo>
                  <a:pt x="865572" y="83413"/>
                  <a:pt x="861138" y="78382"/>
                  <a:pt x="857806" y="71610"/>
                </a:cubicBezTo>
                <a:cubicBezTo>
                  <a:pt x="854474" y="64839"/>
                  <a:pt x="852764" y="56238"/>
                  <a:pt x="852677" y="45808"/>
                </a:cubicBezTo>
                <a:cubicBezTo>
                  <a:pt x="852753" y="35846"/>
                  <a:pt x="854430" y="27466"/>
                  <a:pt x="857710" y="20666"/>
                </a:cubicBezTo>
                <a:cubicBezTo>
                  <a:pt x="860989" y="13867"/>
                  <a:pt x="865418" y="8726"/>
                  <a:pt x="870996" y="5244"/>
                </a:cubicBezTo>
                <a:cubicBezTo>
                  <a:pt x="876573" y="1761"/>
                  <a:pt x="882848" y="13"/>
                  <a:pt x="889818" y="1"/>
                </a:cubicBezTo>
                <a:close/>
                <a:moveTo>
                  <a:pt x="624356" y="1"/>
                </a:moveTo>
                <a:cubicBezTo>
                  <a:pt x="631263" y="-5"/>
                  <a:pt x="637607" y="1669"/>
                  <a:pt x="643388" y="5024"/>
                </a:cubicBezTo>
                <a:cubicBezTo>
                  <a:pt x="649169" y="8378"/>
                  <a:pt x="653815" y="13445"/>
                  <a:pt x="657325" y="20226"/>
                </a:cubicBezTo>
                <a:cubicBezTo>
                  <a:pt x="660835" y="27007"/>
                  <a:pt x="662638" y="35534"/>
                  <a:pt x="662733" y="45808"/>
                </a:cubicBezTo>
                <a:cubicBezTo>
                  <a:pt x="662638" y="56082"/>
                  <a:pt x="660835" y="64609"/>
                  <a:pt x="657325" y="71390"/>
                </a:cubicBezTo>
                <a:cubicBezTo>
                  <a:pt x="653815" y="78171"/>
                  <a:pt x="649169" y="83238"/>
                  <a:pt x="643388" y="86593"/>
                </a:cubicBezTo>
                <a:cubicBezTo>
                  <a:pt x="637607" y="89947"/>
                  <a:pt x="631263" y="91621"/>
                  <a:pt x="624356" y="91616"/>
                </a:cubicBezTo>
                <a:cubicBezTo>
                  <a:pt x="617448" y="91621"/>
                  <a:pt x="611104" y="89947"/>
                  <a:pt x="605323" y="86593"/>
                </a:cubicBezTo>
                <a:cubicBezTo>
                  <a:pt x="599542" y="83238"/>
                  <a:pt x="594896" y="78171"/>
                  <a:pt x="591386" y="71390"/>
                </a:cubicBezTo>
                <a:cubicBezTo>
                  <a:pt x="587876" y="64609"/>
                  <a:pt x="586073" y="56082"/>
                  <a:pt x="585977" y="45808"/>
                </a:cubicBezTo>
                <a:cubicBezTo>
                  <a:pt x="586073" y="35534"/>
                  <a:pt x="587876" y="27007"/>
                  <a:pt x="591386" y="20226"/>
                </a:cubicBezTo>
                <a:cubicBezTo>
                  <a:pt x="594896" y="13445"/>
                  <a:pt x="599542" y="8378"/>
                  <a:pt x="605323" y="5024"/>
                </a:cubicBezTo>
                <a:cubicBezTo>
                  <a:pt x="611104" y="1669"/>
                  <a:pt x="617448" y="-5"/>
                  <a:pt x="624356" y="1"/>
                </a:cubicBezTo>
                <a:close/>
                <a:moveTo>
                  <a:pt x="119531" y="1"/>
                </a:moveTo>
                <a:cubicBezTo>
                  <a:pt x="126438" y="-5"/>
                  <a:pt x="132782" y="1669"/>
                  <a:pt x="138563" y="5024"/>
                </a:cubicBezTo>
                <a:cubicBezTo>
                  <a:pt x="144344" y="8378"/>
                  <a:pt x="148990" y="13445"/>
                  <a:pt x="152500" y="20226"/>
                </a:cubicBezTo>
                <a:cubicBezTo>
                  <a:pt x="156010" y="27007"/>
                  <a:pt x="157813" y="35534"/>
                  <a:pt x="157909" y="45808"/>
                </a:cubicBezTo>
                <a:cubicBezTo>
                  <a:pt x="157813" y="56082"/>
                  <a:pt x="156010" y="64609"/>
                  <a:pt x="152500" y="71390"/>
                </a:cubicBezTo>
                <a:cubicBezTo>
                  <a:pt x="148990" y="78171"/>
                  <a:pt x="144344" y="83238"/>
                  <a:pt x="138563" y="86593"/>
                </a:cubicBezTo>
                <a:cubicBezTo>
                  <a:pt x="132782" y="89947"/>
                  <a:pt x="126438" y="91621"/>
                  <a:pt x="119531" y="91616"/>
                </a:cubicBezTo>
                <a:cubicBezTo>
                  <a:pt x="112623" y="91621"/>
                  <a:pt x="106279" y="89947"/>
                  <a:pt x="100498" y="86593"/>
                </a:cubicBezTo>
                <a:cubicBezTo>
                  <a:pt x="94717" y="83238"/>
                  <a:pt x="90071" y="78171"/>
                  <a:pt x="86561" y="71390"/>
                </a:cubicBezTo>
                <a:cubicBezTo>
                  <a:pt x="83051" y="64609"/>
                  <a:pt x="81248" y="56082"/>
                  <a:pt x="81153" y="45808"/>
                </a:cubicBezTo>
                <a:cubicBezTo>
                  <a:pt x="81248" y="35534"/>
                  <a:pt x="83051" y="27007"/>
                  <a:pt x="86561" y="20226"/>
                </a:cubicBezTo>
                <a:cubicBezTo>
                  <a:pt x="90071" y="13445"/>
                  <a:pt x="94717" y="8378"/>
                  <a:pt x="100498" y="5024"/>
                </a:cubicBezTo>
                <a:cubicBezTo>
                  <a:pt x="106279" y="1669"/>
                  <a:pt x="112623" y="-5"/>
                  <a:pt x="11953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E8B51232-BAA6-BE09-EBF9-AABAE9108DAD}"/>
              </a:ext>
            </a:extLst>
          </p:cNvPr>
          <p:cNvSpPr/>
          <p:nvPr/>
        </p:nvSpPr>
        <p:spPr>
          <a:xfrm>
            <a:off x="4220543" y="4296030"/>
            <a:ext cx="1247185" cy="114282"/>
          </a:xfrm>
          <a:custGeom>
            <a:avLst/>
            <a:gdLst/>
            <a:ahLst/>
            <a:cxnLst/>
            <a:rect l="l" t="t" r="r" b="b"/>
            <a:pathLst>
              <a:path w="1247185" h="114282">
                <a:moveTo>
                  <a:pt x="969111" y="74849"/>
                </a:moveTo>
                <a:cubicBezTo>
                  <a:pt x="963837" y="74804"/>
                  <a:pt x="959698" y="75930"/>
                  <a:pt x="956693" y="78226"/>
                </a:cubicBezTo>
                <a:cubicBezTo>
                  <a:pt x="953688" y="80523"/>
                  <a:pt x="952157" y="84258"/>
                  <a:pt x="952101" y="89431"/>
                </a:cubicBezTo>
                <a:cubicBezTo>
                  <a:pt x="952137" y="93744"/>
                  <a:pt x="953423" y="97056"/>
                  <a:pt x="955960" y="99367"/>
                </a:cubicBezTo>
                <a:cubicBezTo>
                  <a:pt x="958498" y="101679"/>
                  <a:pt x="962071" y="102846"/>
                  <a:pt x="966681" y="102870"/>
                </a:cubicBezTo>
                <a:cubicBezTo>
                  <a:pt x="972855" y="102709"/>
                  <a:pt x="977805" y="100600"/>
                  <a:pt x="981530" y="96543"/>
                </a:cubicBezTo>
                <a:cubicBezTo>
                  <a:pt x="985256" y="92486"/>
                  <a:pt x="987168" y="87446"/>
                  <a:pt x="987266" y="81421"/>
                </a:cubicBezTo>
                <a:lnTo>
                  <a:pt x="987266" y="74849"/>
                </a:lnTo>
                <a:close/>
                <a:moveTo>
                  <a:pt x="730986" y="74849"/>
                </a:moveTo>
                <a:cubicBezTo>
                  <a:pt x="725712" y="74804"/>
                  <a:pt x="721573" y="75930"/>
                  <a:pt x="718568" y="78226"/>
                </a:cubicBezTo>
                <a:cubicBezTo>
                  <a:pt x="715563" y="80523"/>
                  <a:pt x="714032" y="84258"/>
                  <a:pt x="713976" y="89431"/>
                </a:cubicBezTo>
                <a:cubicBezTo>
                  <a:pt x="714011" y="93744"/>
                  <a:pt x="715298" y="97056"/>
                  <a:pt x="717835" y="99367"/>
                </a:cubicBezTo>
                <a:cubicBezTo>
                  <a:pt x="720373" y="101679"/>
                  <a:pt x="723946" y="102846"/>
                  <a:pt x="728556" y="102870"/>
                </a:cubicBezTo>
                <a:cubicBezTo>
                  <a:pt x="734730" y="102709"/>
                  <a:pt x="739680" y="100600"/>
                  <a:pt x="743405" y="96543"/>
                </a:cubicBezTo>
                <a:cubicBezTo>
                  <a:pt x="747131" y="92486"/>
                  <a:pt x="749043" y="87446"/>
                  <a:pt x="749141" y="81421"/>
                </a:cubicBezTo>
                <a:lnTo>
                  <a:pt x="749141" y="74849"/>
                </a:lnTo>
                <a:close/>
                <a:moveTo>
                  <a:pt x="313411" y="69134"/>
                </a:moveTo>
                <a:cubicBezTo>
                  <a:pt x="309354" y="69208"/>
                  <a:pt x="306137" y="70739"/>
                  <a:pt x="303760" y="73726"/>
                </a:cubicBezTo>
                <a:cubicBezTo>
                  <a:pt x="301383" y="76713"/>
                  <a:pt x="300168" y="80710"/>
                  <a:pt x="300115" y="85716"/>
                </a:cubicBezTo>
                <a:cubicBezTo>
                  <a:pt x="300168" y="90723"/>
                  <a:pt x="301383" y="94719"/>
                  <a:pt x="303760" y="97706"/>
                </a:cubicBezTo>
                <a:cubicBezTo>
                  <a:pt x="306137" y="100693"/>
                  <a:pt x="309354" y="102224"/>
                  <a:pt x="313411" y="102299"/>
                </a:cubicBezTo>
                <a:cubicBezTo>
                  <a:pt x="317468" y="102224"/>
                  <a:pt x="320685" y="100693"/>
                  <a:pt x="323061" y="97706"/>
                </a:cubicBezTo>
                <a:cubicBezTo>
                  <a:pt x="325438" y="94719"/>
                  <a:pt x="326654" y="90723"/>
                  <a:pt x="326707" y="85716"/>
                </a:cubicBezTo>
                <a:cubicBezTo>
                  <a:pt x="326654" y="80710"/>
                  <a:pt x="325438" y="76713"/>
                  <a:pt x="323061" y="73726"/>
                </a:cubicBezTo>
                <a:cubicBezTo>
                  <a:pt x="320685" y="70739"/>
                  <a:pt x="317468" y="69208"/>
                  <a:pt x="313411" y="69134"/>
                </a:cubicBezTo>
                <a:close/>
                <a:moveTo>
                  <a:pt x="313411" y="61436"/>
                </a:moveTo>
                <a:cubicBezTo>
                  <a:pt x="319724" y="61501"/>
                  <a:pt x="324998" y="63653"/>
                  <a:pt x="329233" y="67893"/>
                </a:cubicBezTo>
                <a:cubicBezTo>
                  <a:pt x="333467" y="72132"/>
                  <a:pt x="335667" y="78070"/>
                  <a:pt x="335833" y="85707"/>
                </a:cubicBezTo>
                <a:lnTo>
                  <a:pt x="335833" y="85716"/>
                </a:lnTo>
                <a:cubicBezTo>
                  <a:pt x="335667" y="93357"/>
                  <a:pt x="333467" y="99298"/>
                  <a:pt x="329233" y="103539"/>
                </a:cubicBezTo>
                <a:cubicBezTo>
                  <a:pt x="324998" y="107779"/>
                  <a:pt x="319724" y="109931"/>
                  <a:pt x="313411" y="109996"/>
                </a:cubicBezTo>
                <a:cubicBezTo>
                  <a:pt x="307097" y="109932"/>
                  <a:pt x="301823" y="107779"/>
                  <a:pt x="297589" y="103537"/>
                </a:cubicBezTo>
                <a:cubicBezTo>
                  <a:pt x="293354" y="99296"/>
                  <a:pt x="291154" y="93353"/>
                  <a:pt x="290988" y="85707"/>
                </a:cubicBezTo>
                <a:cubicBezTo>
                  <a:pt x="291154" y="78070"/>
                  <a:pt x="293354" y="72132"/>
                  <a:pt x="297589" y="67893"/>
                </a:cubicBezTo>
                <a:cubicBezTo>
                  <a:pt x="301823" y="63653"/>
                  <a:pt x="307097" y="61501"/>
                  <a:pt x="313411" y="61436"/>
                </a:cubicBezTo>
                <a:close/>
                <a:moveTo>
                  <a:pt x="156677" y="57561"/>
                </a:moveTo>
                <a:cubicBezTo>
                  <a:pt x="149322" y="57698"/>
                  <a:pt x="143593" y="59925"/>
                  <a:pt x="139490" y="64243"/>
                </a:cubicBezTo>
                <a:cubicBezTo>
                  <a:pt x="135386" y="68561"/>
                  <a:pt x="133302" y="74147"/>
                  <a:pt x="133237" y="81002"/>
                </a:cubicBezTo>
                <a:cubicBezTo>
                  <a:pt x="133302" y="87335"/>
                  <a:pt x="135386" y="92463"/>
                  <a:pt x="139490" y="96385"/>
                </a:cubicBezTo>
                <a:cubicBezTo>
                  <a:pt x="143593" y="100307"/>
                  <a:pt x="149322" y="102325"/>
                  <a:pt x="156677" y="102442"/>
                </a:cubicBezTo>
                <a:cubicBezTo>
                  <a:pt x="164032" y="102325"/>
                  <a:pt x="169761" y="100307"/>
                  <a:pt x="173864" y="96385"/>
                </a:cubicBezTo>
                <a:cubicBezTo>
                  <a:pt x="177968" y="92463"/>
                  <a:pt x="180052" y="87335"/>
                  <a:pt x="180117" y="81002"/>
                </a:cubicBezTo>
                <a:cubicBezTo>
                  <a:pt x="180052" y="74147"/>
                  <a:pt x="177968" y="68561"/>
                  <a:pt x="173864" y="64243"/>
                </a:cubicBezTo>
                <a:cubicBezTo>
                  <a:pt x="169761" y="59925"/>
                  <a:pt x="164032" y="57698"/>
                  <a:pt x="156677" y="57561"/>
                </a:cubicBezTo>
                <a:close/>
                <a:moveTo>
                  <a:pt x="611305" y="42845"/>
                </a:moveTo>
                <a:cubicBezTo>
                  <a:pt x="604921" y="42854"/>
                  <a:pt x="599823" y="45373"/>
                  <a:pt x="596011" y="50401"/>
                </a:cubicBezTo>
                <a:cubicBezTo>
                  <a:pt x="592200" y="55430"/>
                  <a:pt x="590246" y="62916"/>
                  <a:pt x="590151" y="72857"/>
                </a:cubicBezTo>
                <a:cubicBezTo>
                  <a:pt x="590353" y="84175"/>
                  <a:pt x="592485" y="92053"/>
                  <a:pt x="596547" y="96492"/>
                </a:cubicBezTo>
                <a:cubicBezTo>
                  <a:pt x="600609" y="100932"/>
                  <a:pt x="605385" y="103058"/>
                  <a:pt x="610876" y="102870"/>
                </a:cubicBezTo>
                <a:cubicBezTo>
                  <a:pt x="617803" y="102960"/>
                  <a:pt x="623210" y="100637"/>
                  <a:pt x="627099" y="95902"/>
                </a:cubicBezTo>
                <a:cubicBezTo>
                  <a:pt x="629043" y="93534"/>
                  <a:pt x="630510" y="90429"/>
                  <a:pt x="631498" y="86587"/>
                </a:cubicBezTo>
                <a:lnTo>
                  <a:pt x="633029" y="72853"/>
                </a:lnTo>
                <a:lnTo>
                  <a:pt x="631565" y="59365"/>
                </a:lnTo>
                <a:cubicBezTo>
                  <a:pt x="630612" y="55560"/>
                  <a:pt x="629195" y="52447"/>
                  <a:pt x="627313" y="50026"/>
                </a:cubicBezTo>
                <a:cubicBezTo>
                  <a:pt x="623550" y="45185"/>
                  <a:pt x="618214" y="42791"/>
                  <a:pt x="611305" y="42845"/>
                </a:cubicBezTo>
                <a:close/>
                <a:moveTo>
                  <a:pt x="535249" y="42702"/>
                </a:moveTo>
                <a:cubicBezTo>
                  <a:pt x="529064" y="42711"/>
                  <a:pt x="524138" y="44802"/>
                  <a:pt x="520472" y="48975"/>
                </a:cubicBezTo>
                <a:cubicBezTo>
                  <a:pt x="516807" y="53148"/>
                  <a:pt x="514633" y="59350"/>
                  <a:pt x="513951" y="67580"/>
                </a:cubicBezTo>
                <a:lnTo>
                  <a:pt x="553974" y="67580"/>
                </a:lnTo>
                <a:cubicBezTo>
                  <a:pt x="553971" y="59788"/>
                  <a:pt x="552404" y="53711"/>
                  <a:pt x="549275" y="49350"/>
                </a:cubicBezTo>
                <a:cubicBezTo>
                  <a:pt x="546145" y="44990"/>
                  <a:pt x="541469" y="42773"/>
                  <a:pt x="535249" y="42702"/>
                </a:cubicBezTo>
                <a:close/>
                <a:moveTo>
                  <a:pt x="1118711" y="37291"/>
                </a:moveTo>
                <a:lnTo>
                  <a:pt x="1127265" y="37291"/>
                </a:lnTo>
                <a:lnTo>
                  <a:pt x="1127265" y="108567"/>
                </a:lnTo>
                <a:lnTo>
                  <a:pt x="1118711" y="108567"/>
                </a:lnTo>
                <a:close/>
                <a:moveTo>
                  <a:pt x="671036" y="37291"/>
                </a:moveTo>
                <a:lnTo>
                  <a:pt x="679591" y="37291"/>
                </a:lnTo>
                <a:lnTo>
                  <a:pt x="679591" y="108567"/>
                </a:lnTo>
                <a:lnTo>
                  <a:pt x="671036" y="108567"/>
                </a:lnTo>
                <a:close/>
                <a:moveTo>
                  <a:pt x="1182378" y="35719"/>
                </a:moveTo>
                <a:cubicBezTo>
                  <a:pt x="1189298" y="35816"/>
                  <a:pt x="1195143" y="37903"/>
                  <a:pt x="1199913" y="41979"/>
                </a:cubicBezTo>
                <a:cubicBezTo>
                  <a:pt x="1204683" y="46055"/>
                  <a:pt x="1207169" y="51536"/>
                  <a:pt x="1207371" y="58422"/>
                </a:cubicBezTo>
                <a:lnTo>
                  <a:pt x="1198816" y="58422"/>
                </a:lnTo>
                <a:cubicBezTo>
                  <a:pt x="1198739" y="54084"/>
                  <a:pt x="1197214" y="50434"/>
                  <a:pt x="1194242" y="47472"/>
                </a:cubicBezTo>
                <a:cubicBezTo>
                  <a:pt x="1191270" y="44509"/>
                  <a:pt x="1187315" y="42967"/>
                  <a:pt x="1182378" y="42845"/>
                </a:cubicBezTo>
                <a:cubicBezTo>
                  <a:pt x="1175549" y="42854"/>
                  <a:pt x="1170302" y="45373"/>
                  <a:pt x="1166636" y="50401"/>
                </a:cubicBezTo>
                <a:cubicBezTo>
                  <a:pt x="1162970" y="55430"/>
                  <a:pt x="1161118" y="62916"/>
                  <a:pt x="1161079" y="72857"/>
                </a:cubicBezTo>
                <a:cubicBezTo>
                  <a:pt x="1161160" y="82987"/>
                  <a:pt x="1163036" y="90526"/>
                  <a:pt x="1166708" y="95474"/>
                </a:cubicBezTo>
                <a:cubicBezTo>
                  <a:pt x="1170379" y="100423"/>
                  <a:pt x="1175365" y="102888"/>
                  <a:pt x="1181663" y="102870"/>
                </a:cubicBezTo>
                <a:cubicBezTo>
                  <a:pt x="1186880" y="102787"/>
                  <a:pt x="1191026" y="101203"/>
                  <a:pt x="1194099" y="98118"/>
                </a:cubicBezTo>
                <a:cubicBezTo>
                  <a:pt x="1197172" y="95033"/>
                  <a:pt x="1198745" y="90948"/>
                  <a:pt x="1198816" y="85863"/>
                </a:cubicBezTo>
                <a:lnTo>
                  <a:pt x="1207371" y="85863"/>
                </a:lnTo>
                <a:cubicBezTo>
                  <a:pt x="1207229" y="93371"/>
                  <a:pt x="1204802" y="99251"/>
                  <a:pt x="1200092" y="103503"/>
                </a:cubicBezTo>
                <a:cubicBezTo>
                  <a:pt x="1195381" y="107755"/>
                  <a:pt x="1189238" y="109919"/>
                  <a:pt x="1181663" y="109996"/>
                </a:cubicBezTo>
                <a:cubicBezTo>
                  <a:pt x="1172608" y="110003"/>
                  <a:pt x="1165423" y="106922"/>
                  <a:pt x="1160108" y="100752"/>
                </a:cubicBezTo>
                <a:cubicBezTo>
                  <a:pt x="1154792" y="94583"/>
                  <a:pt x="1152074" y="85284"/>
                  <a:pt x="1151953" y="72857"/>
                </a:cubicBezTo>
                <a:cubicBezTo>
                  <a:pt x="1152113" y="60993"/>
                  <a:pt x="1154968" y="51855"/>
                  <a:pt x="1160519" y="45445"/>
                </a:cubicBezTo>
                <a:cubicBezTo>
                  <a:pt x="1166069" y="39035"/>
                  <a:pt x="1173355" y="35793"/>
                  <a:pt x="1182378" y="35719"/>
                </a:cubicBezTo>
                <a:close/>
                <a:moveTo>
                  <a:pt x="971112" y="35719"/>
                </a:moveTo>
                <a:cubicBezTo>
                  <a:pt x="977895" y="35596"/>
                  <a:pt x="983657" y="37338"/>
                  <a:pt x="988398" y="40945"/>
                </a:cubicBezTo>
                <a:cubicBezTo>
                  <a:pt x="993139" y="44552"/>
                  <a:pt x="995613" y="50762"/>
                  <a:pt x="995821" y="59573"/>
                </a:cubicBezTo>
                <a:lnTo>
                  <a:pt x="995821" y="108567"/>
                </a:lnTo>
                <a:lnTo>
                  <a:pt x="988692" y="108567"/>
                </a:lnTo>
                <a:lnTo>
                  <a:pt x="987979" y="97723"/>
                </a:lnTo>
                <a:cubicBezTo>
                  <a:pt x="985335" y="101546"/>
                  <a:pt x="982012" y="104538"/>
                  <a:pt x="978010" y="106698"/>
                </a:cubicBezTo>
                <a:cubicBezTo>
                  <a:pt x="974007" y="108859"/>
                  <a:pt x="969755" y="109958"/>
                  <a:pt x="965252" y="109996"/>
                </a:cubicBezTo>
                <a:cubicBezTo>
                  <a:pt x="958633" y="109970"/>
                  <a:pt x="953294" y="108205"/>
                  <a:pt x="949235" y="104700"/>
                </a:cubicBezTo>
                <a:cubicBezTo>
                  <a:pt x="945177" y="101195"/>
                  <a:pt x="943090" y="96105"/>
                  <a:pt x="942975" y="89431"/>
                </a:cubicBezTo>
                <a:cubicBezTo>
                  <a:pt x="943054" y="82296"/>
                  <a:pt x="945391" y="76986"/>
                  <a:pt x="949986" y="73502"/>
                </a:cubicBezTo>
                <a:cubicBezTo>
                  <a:pt x="954580" y="70017"/>
                  <a:pt x="960955" y="68282"/>
                  <a:pt x="969110" y="68294"/>
                </a:cubicBezTo>
                <a:lnTo>
                  <a:pt x="987266" y="68294"/>
                </a:lnTo>
                <a:lnTo>
                  <a:pt x="987266" y="59859"/>
                </a:lnTo>
                <a:cubicBezTo>
                  <a:pt x="987218" y="53771"/>
                  <a:pt x="985777" y="49398"/>
                  <a:pt x="982941" y="46741"/>
                </a:cubicBezTo>
                <a:cubicBezTo>
                  <a:pt x="980106" y="44084"/>
                  <a:pt x="976163" y="42785"/>
                  <a:pt x="971112" y="42845"/>
                </a:cubicBezTo>
                <a:cubicBezTo>
                  <a:pt x="966222" y="42892"/>
                  <a:pt x="962457" y="44048"/>
                  <a:pt x="959818" y="46312"/>
                </a:cubicBezTo>
                <a:cubicBezTo>
                  <a:pt x="957180" y="48576"/>
                  <a:pt x="955845" y="51662"/>
                  <a:pt x="955816" y="55570"/>
                </a:cubicBezTo>
                <a:lnTo>
                  <a:pt x="947261" y="55570"/>
                </a:lnTo>
                <a:cubicBezTo>
                  <a:pt x="947415" y="49363"/>
                  <a:pt x="949710" y="44518"/>
                  <a:pt x="954147" y="41033"/>
                </a:cubicBezTo>
                <a:cubicBezTo>
                  <a:pt x="958584" y="37549"/>
                  <a:pt x="964239" y="35778"/>
                  <a:pt x="971112" y="35719"/>
                </a:cubicBezTo>
                <a:close/>
                <a:moveTo>
                  <a:pt x="928479" y="35719"/>
                </a:moveTo>
                <a:cubicBezTo>
                  <a:pt x="929705" y="35731"/>
                  <a:pt x="930789" y="35814"/>
                  <a:pt x="931729" y="35968"/>
                </a:cubicBezTo>
                <a:cubicBezTo>
                  <a:pt x="932670" y="36123"/>
                  <a:pt x="933396" y="36277"/>
                  <a:pt x="933908" y="36432"/>
                </a:cubicBezTo>
                <a:lnTo>
                  <a:pt x="933908" y="45274"/>
                </a:lnTo>
                <a:cubicBezTo>
                  <a:pt x="933220" y="45056"/>
                  <a:pt x="932310" y="44884"/>
                  <a:pt x="931176" y="44756"/>
                </a:cubicBezTo>
                <a:cubicBezTo>
                  <a:pt x="930041" y="44628"/>
                  <a:pt x="928952" y="44562"/>
                  <a:pt x="927907" y="44559"/>
                </a:cubicBezTo>
                <a:cubicBezTo>
                  <a:pt x="921960" y="44668"/>
                  <a:pt x="917210" y="47023"/>
                  <a:pt x="913656" y="51625"/>
                </a:cubicBezTo>
                <a:cubicBezTo>
                  <a:pt x="910102" y="56226"/>
                  <a:pt x="908280" y="62425"/>
                  <a:pt x="908191" y="70220"/>
                </a:cubicBezTo>
                <a:lnTo>
                  <a:pt x="908191" y="108567"/>
                </a:lnTo>
                <a:lnTo>
                  <a:pt x="899636" y="108567"/>
                </a:lnTo>
                <a:lnTo>
                  <a:pt x="899636" y="37291"/>
                </a:lnTo>
                <a:lnTo>
                  <a:pt x="906765" y="37291"/>
                </a:lnTo>
                <a:lnTo>
                  <a:pt x="907763" y="51417"/>
                </a:lnTo>
                <a:cubicBezTo>
                  <a:pt x="909670" y="46515"/>
                  <a:pt x="912319" y="42685"/>
                  <a:pt x="915709" y="39927"/>
                </a:cubicBezTo>
                <a:cubicBezTo>
                  <a:pt x="919100" y="37169"/>
                  <a:pt x="923356" y="35766"/>
                  <a:pt x="928479" y="35719"/>
                </a:cubicBezTo>
                <a:close/>
                <a:moveTo>
                  <a:pt x="732987" y="35719"/>
                </a:moveTo>
                <a:cubicBezTo>
                  <a:pt x="739770" y="35596"/>
                  <a:pt x="745532" y="37338"/>
                  <a:pt x="750273" y="40945"/>
                </a:cubicBezTo>
                <a:cubicBezTo>
                  <a:pt x="755014" y="44552"/>
                  <a:pt x="757488" y="50762"/>
                  <a:pt x="757696" y="59573"/>
                </a:cubicBezTo>
                <a:lnTo>
                  <a:pt x="757696" y="108567"/>
                </a:lnTo>
                <a:lnTo>
                  <a:pt x="750567" y="108567"/>
                </a:lnTo>
                <a:lnTo>
                  <a:pt x="749854" y="97723"/>
                </a:lnTo>
                <a:cubicBezTo>
                  <a:pt x="747210" y="101546"/>
                  <a:pt x="743887" y="104538"/>
                  <a:pt x="739885" y="106698"/>
                </a:cubicBezTo>
                <a:cubicBezTo>
                  <a:pt x="735882" y="108859"/>
                  <a:pt x="731630" y="109958"/>
                  <a:pt x="727127" y="109996"/>
                </a:cubicBezTo>
                <a:cubicBezTo>
                  <a:pt x="720508" y="109970"/>
                  <a:pt x="715169" y="108205"/>
                  <a:pt x="711110" y="104700"/>
                </a:cubicBezTo>
                <a:cubicBezTo>
                  <a:pt x="707052" y="101195"/>
                  <a:pt x="704965" y="96105"/>
                  <a:pt x="704850" y="89431"/>
                </a:cubicBezTo>
                <a:cubicBezTo>
                  <a:pt x="704929" y="82296"/>
                  <a:pt x="707266" y="76986"/>
                  <a:pt x="711861" y="73502"/>
                </a:cubicBezTo>
                <a:cubicBezTo>
                  <a:pt x="716455" y="70017"/>
                  <a:pt x="722830" y="68282"/>
                  <a:pt x="730985" y="68294"/>
                </a:cubicBezTo>
                <a:lnTo>
                  <a:pt x="749141" y="68294"/>
                </a:lnTo>
                <a:lnTo>
                  <a:pt x="749141" y="59859"/>
                </a:lnTo>
                <a:cubicBezTo>
                  <a:pt x="749093" y="53771"/>
                  <a:pt x="747652" y="49398"/>
                  <a:pt x="744816" y="46741"/>
                </a:cubicBezTo>
                <a:cubicBezTo>
                  <a:pt x="741981" y="44084"/>
                  <a:pt x="738038" y="42785"/>
                  <a:pt x="732987" y="42845"/>
                </a:cubicBezTo>
                <a:cubicBezTo>
                  <a:pt x="728097" y="42892"/>
                  <a:pt x="724332" y="44048"/>
                  <a:pt x="721693" y="46312"/>
                </a:cubicBezTo>
                <a:cubicBezTo>
                  <a:pt x="719055" y="48576"/>
                  <a:pt x="717720" y="51662"/>
                  <a:pt x="717691" y="55570"/>
                </a:cubicBezTo>
                <a:lnTo>
                  <a:pt x="709136" y="55570"/>
                </a:lnTo>
                <a:cubicBezTo>
                  <a:pt x="709290" y="49363"/>
                  <a:pt x="711585" y="44518"/>
                  <a:pt x="716022" y="41033"/>
                </a:cubicBezTo>
                <a:cubicBezTo>
                  <a:pt x="720459" y="37549"/>
                  <a:pt x="726114" y="35778"/>
                  <a:pt x="732987" y="35719"/>
                </a:cubicBezTo>
                <a:close/>
                <a:moveTo>
                  <a:pt x="535249" y="35719"/>
                </a:moveTo>
                <a:cubicBezTo>
                  <a:pt x="544140" y="35805"/>
                  <a:pt x="550902" y="39023"/>
                  <a:pt x="555535" y="45374"/>
                </a:cubicBezTo>
                <a:cubicBezTo>
                  <a:pt x="560168" y="51725"/>
                  <a:pt x="562499" y="60694"/>
                  <a:pt x="562528" y="72281"/>
                </a:cubicBezTo>
                <a:lnTo>
                  <a:pt x="562528" y="73706"/>
                </a:lnTo>
                <a:lnTo>
                  <a:pt x="513808" y="73706"/>
                </a:lnTo>
                <a:cubicBezTo>
                  <a:pt x="514058" y="83803"/>
                  <a:pt x="516131" y="91201"/>
                  <a:pt x="520026" y="95901"/>
                </a:cubicBezTo>
                <a:cubicBezTo>
                  <a:pt x="523921" y="100601"/>
                  <a:pt x="528995" y="102924"/>
                  <a:pt x="535249" y="102870"/>
                </a:cubicBezTo>
                <a:cubicBezTo>
                  <a:pt x="540746" y="102739"/>
                  <a:pt x="545082" y="101250"/>
                  <a:pt x="548256" y="98403"/>
                </a:cubicBezTo>
                <a:cubicBezTo>
                  <a:pt x="551430" y="95555"/>
                  <a:pt x="553050" y="92136"/>
                  <a:pt x="553116" y="88145"/>
                </a:cubicBezTo>
                <a:lnTo>
                  <a:pt x="561530" y="88145"/>
                </a:lnTo>
                <a:cubicBezTo>
                  <a:pt x="561400" y="94434"/>
                  <a:pt x="558949" y="99613"/>
                  <a:pt x="554178" y="103681"/>
                </a:cubicBezTo>
                <a:cubicBezTo>
                  <a:pt x="549407" y="107749"/>
                  <a:pt x="543098" y="109854"/>
                  <a:pt x="535249" y="109996"/>
                </a:cubicBezTo>
                <a:cubicBezTo>
                  <a:pt x="526164" y="110003"/>
                  <a:pt x="518860" y="106921"/>
                  <a:pt x="513336" y="100751"/>
                </a:cubicBezTo>
                <a:cubicBezTo>
                  <a:pt x="507813" y="94580"/>
                  <a:pt x="504976" y="85280"/>
                  <a:pt x="504825" y="72851"/>
                </a:cubicBezTo>
                <a:cubicBezTo>
                  <a:pt x="504985" y="60991"/>
                  <a:pt x="507840" y="51856"/>
                  <a:pt x="513390" y="45445"/>
                </a:cubicBezTo>
                <a:cubicBezTo>
                  <a:pt x="518940" y="39035"/>
                  <a:pt x="526227" y="35793"/>
                  <a:pt x="535249" y="35719"/>
                </a:cubicBezTo>
                <a:close/>
                <a:moveTo>
                  <a:pt x="260547" y="11984"/>
                </a:moveTo>
                <a:cubicBezTo>
                  <a:pt x="256490" y="12058"/>
                  <a:pt x="253273" y="13589"/>
                  <a:pt x="250897" y="16576"/>
                </a:cubicBezTo>
                <a:cubicBezTo>
                  <a:pt x="248520" y="19563"/>
                  <a:pt x="247304" y="23560"/>
                  <a:pt x="247251" y="28566"/>
                </a:cubicBezTo>
                <a:cubicBezTo>
                  <a:pt x="247304" y="33573"/>
                  <a:pt x="248520" y="37569"/>
                  <a:pt x="250897" y="40556"/>
                </a:cubicBezTo>
                <a:cubicBezTo>
                  <a:pt x="253273" y="43543"/>
                  <a:pt x="256490" y="45074"/>
                  <a:pt x="260547" y="45149"/>
                </a:cubicBezTo>
                <a:cubicBezTo>
                  <a:pt x="264604" y="45074"/>
                  <a:pt x="267821" y="43543"/>
                  <a:pt x="270198" y="40556"/>
                </a:cubicBezTo>
                <a:cubicBezTo>
                  <a:pt x="272575" y="37569"/>
                  <a:pt x="273790" y="33573"/>
                  <a:pt x="273843" y="28566"/>
                </a:cubicBezTo>
                <a:cubicBezTo>
                  <a:pt x="273790" y="23560"/>
                  <a:pt x="272575" y="19563"/>
                  <a:pt x="270198" y="16576"/>
                </a:cubicBezTo>
                <a:cubicBezTo>
                  <a:pt x="267821" y="13589"/>
                  <a:pt x="264604" y="12058"/>
                  <a:pt x="260547" y="11984"/>
                </a:cubicBezTo>
                <a:close/>
                <a:moveTo>
                  <a:pt x="156677" y="11841"/>
                </a:moveTo>
                <a:cubicBezTo>
                  <a:pt x="150376" y="11859"/>
                  <a:pt x="145611" y="13467"/>
                  <a:pt x="142383" y="16665"/>
                </a:cubicBezTo>
                <a:cubicBezTo>
                  <a:pt x="139155" y="19863"/>
                  <a:pt x="137535" y="24545"/>
                  <a:pt x="137523" y="30709"/>
                </a:cubicBezTo>
                <a:cubicBezTo>
                  <a:pt x="137508" y="36204"/>
                  <a:pt x="139074" y="40760"/>
                  <a:pt x="142222" y="44378"/>
                </a:cubicBezTo>
                <a:cubicBezTo>
                  <a:pt x="145370" y="47996"/>
                  <a:pt x="150188" y="49872"/>
                  <a:pt x="156677" y="50006"/>
                </a:cubicBezTo>
                <a:cubicBezTo>
                  <a:pt x="163166" y="49872"/>
                  <a:pt x="167984" y="47996"/>
                  <a:pt x="171132" y="44378"/>
                </a:cubicBezTo>
                <a:cubicBezTo>
                  <a:pt x="174280" y="40760"/>
                  <a:pt x="175846" y="36204"/>
                  <a:pt x="175831" y="30709"/>
                </a:cubicBezTo>
                <a:cubicBezTo>
                  <a:pt x="175819" y="24545"/>
                  <a:pt x="174199" y="19863"/>
                  <a:pt x="170971" y="16665"/>
                </a:cubicBezTo>
                <a:cubicBezTo>
                  <a:pt x="167743" y="13467"/>
                  <a:pt x="162979" y="11859"/>
                  <a:pt x="156677" y="11841"/>
                </a:cubicBezTo>
                <a:close/>
                <a:moveTo>
                  <a:pt x="1117854" y="5715"/>
                </a:moveTo>
                <a:lnTo>
                  <a:pt x="1128123" y="5715"/>
                </a:lnTo>
                <a:lnTo>
                  <a:pt x="1128123" y="16049"/>
                </a:lnTo>
                <a:lnTo>
                  <a:pt x="1117854" y="16049"/>
                </a:lnTo>
                <a:close/>
                <a:moveTo>
                  <a:pt x="803910" y="5715"/>
                </a:moveTo>
                <a:lnTo>
                  <a:pt x="883902" y="5715"/>
                </a:lnTo>
                <a:lnTo>
                  <a:pt x="883902" y="13698"/>
                </a:lnTo>
                <a:lnTo>
                  <a:pt x="848326" y="13698"/>
                </a:lnTo>
                <a:lnTo>
                  <a:pt x="848326" y="108567"/>
                </a:lnTo>
                <a:lnTo>
                  <a:pt x="839485" y="108567"/>
                </a:lnTo>
                <a:lnTo>
                  <a:pt x="839485" y="13698"/>
                </a:lnTo>
                <a:lnTo>
                  <a:pt x="803910" y="13698"/>
                </a:lnTo>
                <a:close/>
                <a:moveTo>
                  <a:pt x="670179" y="5715"/>
                </a:moveTo>
                <a:lnTo>
                  <a:pt x="680448" y="5715"/>
                </a:lnTo>
                <a:lnTo>
                  <a:pt x="680448" y="16049"/>
                </a:lnTo>
                <a:lnTo>
                  <a:pt x="670179" y="16049"/>
                </a:lnTo>
                <a:close/>
                <a:moveTo>
                  <a:pt x="632460" y="5715"/>
                </a:moveTo>
                <a:lnTo>
                  <a:pt x="641014" y="5715"/>
                </a:lnTo>
                <a:lnTo>
                  <a:pt x="641014" y="108567"/>
                </a:lnTo>
                <a:lnTo>
                  <a:pt x="633885" y="108567"/>
                </a:lnTo>
                <a:lnTo>
                  <a:pt x="633030" y="97296"/>
                </a:lnTo>
                <a:cubicBezTo>
                  <a:pt x="630762" y="101262"/>
                  <a:pt x="627689" y="104360"/>
                  <a:pt x="623812" y="106591"/>
                </a:cubicBezTo>
                <a:cubicBezTo>
                  <a:pt x="619935" y="108823"/>
                  <a:pt x="615147" y="109958"/>
                  <a:pt x="609447" y="109996"/>
                </a:cubicBezTo>
                <a:cubicBezTo>
                  <a:pt x="601634" y="110065"/>
                  <a:pt x="595003" y="107109"/>
                  <a:pt x="589554" y="101127"/>
                </a:cubicBezTo>
                <a:cubicBezTo>
                  <a:pt x="584105" y="95145"/>
                  <a:pt x="581262" y="85722"/>
                  <a:pt x="581025" y="72857"/>
                </a:cubicBezTo>
                <a:cubicBezTo>
                  <a:pt x="581100" y="64795"/>
                  <a:pt x="582471" y="58007"/>
                  <a:pt x="585138" y="52494"/>
                </a:cubicBezTo>
                <a:cubicBezTo>
                  <a:pt x="587804" y="46981"/>
                  <a:pt x="591312" y="42809"/>
                  <a:pt x="595662" y="39980"/>
                </a:cubicBezTo>
                <a:cubicBezTo>
                  <a:pt x="600012" y="37150"/>
                  <a:pt x="604750" y="35730"/>
                  <a:pt x="609876" y="35719"/>
                </a:cubicBezTo>
                <a:cubicBezTo>
                  <a:pt x="615284" y="35748"/>
                  <a:pt x="619834" y="36723"/>
                  <a:pt x="623526" y="38642"/>
                </a:cubicBezTo>
                <a:cubicBezTo>
                  <a:pt x="627219" y="40561"/>
                  <a:pt x="630197" y="43248"/>
                  <a:pt x="632460" y="46703"/>
                </a:cubicBezTo>
                <a:close/>
                <a:moveTo>
                  <a:pt x="385286" y="5715"/>
                </a:moveTo>
                <a:lnTo>
                  <a:pt x="397985" y="5715"/>
                </a:lnTo>
                <a:lnTo>
                  <a:pt x="432283" y="71426"/>
                </a:lnTo>
                <a:lnTo>
                  <a:pt x="466581" y="5715"/>
                </a:lnTo>
                <a:lnTo>
                  <a:pt x="479280" y="5715"/>
                </a:lnTo>
                <a:lnTo>
                  <a:pt x="479280" y="108567"/>
                </a:lnTo>
                <a:lnTo>
                  <a:pt x="470439" y="108567"/>
                </a:lnTo>
                <a:lnTo>
                  <a:pt x="470439" y="15714"/>
                </a:lnTo>
                <a:lnTo>
                  <a:pt x="435855" y="81283"/>
                </a:lnTo>
                <a:lnTo>
                  <a:pt x="428710" y="81283"/>
                </a:lnTo>
                <a:lnTo>
                  <a:pt x="394126" y="15714"/>
                </a:lnTo>
                <a:lnTo>
                  <a:pt x="394126" y="108567"/>
                </a:lnTo>
                <a:lnTo>
                  <a:pt x="385286" y="108567"/>
                </a:lnTo>
                <a:close/>
                <a:moveTo>
                  <a:pt x="313554" y="5715"/>
                </a:moveTo>
                <a:lnTo>
                  <a:pt x="323991" y="5715"/>
                </a:lnTo>
                <a:lnTo>
                  <a:pt x="260404" y="108567"/>
                </a:lnTo>
                <a:lnTo>
                  <a:pt x="249967" y="108567"/>
                </a:lnTo>
                <a:close/>
                <a:moveTo>
                  <a:pt x="1096500" y="4286"/>
                </a:moveTo>
                <a:cubicBezTo>
                  <a:pt x="1098131" y="4298"/>
                  <a:pt x="1099548" y="4381"/>
                  <a:pt x="1100750" y="4536"/>
                </a:cubicBezTo>
                <a:cubicBezTo>
                  <a:pt x="1101953" y="4690"/>
                  <a:pt x="1103012" y="4845"/>
                  <a:pt x="1103929" y="4999"/>
                </a:cubicBezTo>
                <a:lnTo>
                  <a:pt x="1103929" y="12703"/>
                </a:lnTo>
                <a:cubicBezTo>
                  <a:pt x="1102914" y="12547"/>
                  <a:pt x="1101765" y="12391"/>
                  <a:pt x="1100482" y="12235"/>
                </a:cubicBezTo>
                <a:cubicBezTo>
                  <a:pt x="1099200" y="12080"/>
                  <a:pt x="1097872" y="11996"/>
                  <a:pt x="1096500" y="11984"/>
                </a:cubicBezTo>
                <a:cubicBezTo>
                  <a:pt x="1091853" y="12047"/>
                  <a:pt x="1088359" y="13682"/>
                  <a:pt x="1086016" y="16891"/>
                </a:cubicBezTo>
                <a:cubicBezTo>
                  <a:pt x="1083674" y="20099"/>
                  <a:pt x="1082501" y="24502"/>
                  <a:pt x="1082498" y="30101"/>
                </a:cubicBezTo>
                <a:lnTo>
                  <a:pt x="1082498" y="37291"/>
                </a:lnTo>
                <a:lnTo>
                  <a:pt x="1099643" y="37291"/>
                </a:lnTo>
                <a:lnTo>
                  <a:pt x="1099643" y="44131"/>
                </a:lnTo>
                <a:lnTo>
                  <a:pt x="1082498" y="44131"/>
                </a:lnTo>
                <a:lnTo>
                  <a:pt x="1082498" y="108567"/>
                </a:lnTo>
                <a:lnTo>
                  <a:pt x="1073943" y="108567"/>
                </a:lnTo>
                <a:lnTo>
                  <a:pt x="1073943" y="44131"/>
                </a:lnTo>
                <a:lnTo>
                  <a:pt x="1061085" y="44131"/>
                </a:lnTo>
                <a:lnTo>
                  <a:pt x="1061085" y="37291"/>
                </a:lnTo>
                <a:lnTo>
                  <a:pt x="1073943" y="37291"/>
                </a:lnTo>
                <a:lnTo>
                  <a:pt x="1073943" y="30101"/>
                </a:lnTo>
                <a:cubicBezTo>
                  <a:pt x="1074080" y="20974"/>
                  <a:pt x="1076232" y="14372"/>
                  <a:pt x="1080400" y="10293"/>
                </a:cubicBezTo>
                <a:cubicBezTo>
                  <a:pt x="1084567" y="6214"/>
                  <a:pt x="1089934" y="4212"/>
                  <a:pt x="1096500" y="4286"/>
                </a:cubicBezTo>
                <a:close/>
                <a:moveTo>
                  <a:pt x="1048875" y="4286"/>
                </a:moveTo>
                <a:cubicBezTo>
                  <a:pt x="1050506" y="4298"/>
                  <a:pt x="1051923" y="4381"/>
                  <a:pt x="1053125" y="4536"/>
                </a:cubicBezTo>
                <a:cubicBezTo>
                  <a:pt x="1054328" y="4690"/>
                  <a:pt x="1055387" y="4845"/>
                  <a:pt x="1056304" y="4999"/>
                </a:cubicBezTo>
                <a:lnTo>
                  <a:pt x="1056304" y="12703"/>
                </a:lnTo>
                <a:cubicBezTo>
                  <a:pt x="1055289" y="12547"/>
                  <a:pt x="1054140" y="12391"/>
                  <a:pt x="1052857" y="12235"/>
                </a:cubicBezTo>
                <a:cubicBezTo>
                  <a:pt x="1051574" y="12080"/>
                  <a:pt x="1050247" y="11996"/>
                  <a:pt x="1048875" y="11984"/>
                </a:cubicBezTo>
                <a:cubicBezTo>
                  <a:pt x="1044228" y="12047"/>
                  <a:pt x="1040734" y="13682"/>
                  <a:pt x="1038391" y="16891"/>
                </a:cubicBezTo>
                <a:cubicBezTo>
                  <a:pt x="1036049" y="20099"/>
                  <a:pt x="1034876" y="24502"/>
                  <a:pt x="1034873" y="30101"/>
                </a:cubicBezTo>
                <a:lnTo>
                  <a:pt x="1034873" y="37291"/>
                </a:lnTo>
                <a:lnTo>
                  <a:pt x="1052018" y="37291"/>
                </a:lnTo>
                <a:lnTo>
                  <a:pt x="1052018" y="44131"/>
                </a:lnTo>
                <a:lnTo>
                  <a:pt x="1034873" y="44131"/>
                </a:lnTo>
                <a:lnTo>
                  <a:pt x="1034873" y="108567"/>
                </a:lnTo>
                <a:lnTo>
                  <a:pt x="1026318" y="108567"/>
                </a:lnTo>
                <a:lnTo>
                  <a:pt x="1026318" y="44131"/>
                </a:lnTo>
                <a:lnTo>
                  <a:pt x="1013460" y="44131"/>
                </a:lnTo>
                <a:lnTo>
                  <a:pt x="1013460" y="37291"/>
                </a:lnTo>
                <a:lnTo>
                  <a:pt x="1026318" y="37291"/>
                </a:lnTo>
                <a:lnTo>
                  <a:pt x="1026318" y="30101"/>
                </a:lnTo>
                <a:cubicBezTo>
                  <a:pt x="1026455" y="20974"/>
                  <a:pt x="1028607" y="14372"/>
                  <a:pt x="1032775" y="10293"/>
                </a:cubicBezTo>
                <a:cubicBezTo>
                  <a:pt x="1036942" y="6214"/>
                  <a:pt x="1042309" y="4212"/>
                  <a:pt x="1048875" y="4286"/>
                </a:cubicBezTo>
                <a:close/>
                <a:moveTo>
                  <a:pt x="260547" y="4286"/>
                </a:moveTo>
                <a:cubicBezTo>
                  <a:pt x="266861" y="4351"/>
                  <a:pt x="272135" y="6504"/>
                  <a:pt x="276369" y="10744"/>
                </a:cubicBezTo>
                <a:cubicBezTo>
                  <a:pt x="280604" y="14985"/>
                  <a:pt x="282804" y="20925"/>
                  <a:pt x="282970" y="28566"/>
                </a:cubicBezTo>
                <a:cubicBezTo>
                  <a:pt x="282804" y="36207"/>
                  <a:pt x="280604" y="42148"/>
                  <a:pt x="276369" y="46389"/>
                </a:cubicBezTo>
                <a:cubicBezTo>
                  <a:pt x="272135" y="50629"/>
                  <a:pt x="266861" y="52781"/>
                  <a:pt x="260547" y="52846"/>
                </a:cubicBezTo>
                <a:cubicBezTo>
                  <a:pt x="254234" y="52781"/>
                  <a:pt x="248960" y="50629"/>
                  <a:pt x="244725" y="46389"/>
                </a:cubicBezTo>
                <a:cubicBezTo>
                  <a:pt x="240491" y="42148"/>
                  <a:pt x="238290" y="36207"/>
                  <a:pt x="238125" y="28566"/>
                </a:cubicBezTo>
                <a:cubicBezTo>
                  <a:pt x="238290" y="20925"/>
                  <a:pt x="240491" y="14985"/>
                  <a:pt x="244725" y="10744"/>
                </a:cubicBezTo>
                <a:cubicBezTo>
                  <a:pt x="248960" y="6504"/>
                  <a:pt x="254234" y="4351"/>
                  <a:pt x="260547" y="4286"/>
                </a:cubicBezTo>
                <a:close/>
                <a:moveTo>
                  <a:pt x="156677" y="4286"/>
                </a:moveTo>
                <a:cubicBezTo>
                  <a:pt x="165872" y="4360"/>
                  <a:pt x="172920" y="6709"/>
                  <a:pt x="177821" y="11333"/>
                </a:cubicBezTo>
                <a:cubicBezTo>
                  <a:pt x="182722" y="15958"/>
                  <a:pt x="185196" y="22416"/>
                  <a:pt x="185243" y="30709"/>
                </a:cubicBezTo>
                <a:cubicBezTo>
                  <a:pt x="185178" y="36040"/>
                  <a:pt x="183775" y="40673"/>
                  <a:pt x="181034" y="44609"/>
                </a:cubicBezTo>
                <a:cubicBezTo>
                  <a:pt x="178294" y="48545"/>
                  <a:pt x="174605" y="51532"/>
                  <a:pt x="169969" y="53570"/>
                </a:cubicBezTo>
                <a:cubicBezTo>
                  <a:pt x="175474" y="55393"/>
                  <a:pt x="180074" y="58630"/>
                  <a:pt x="183769" y="63280"/>
                </a:cubicBezTo>
                <a:cubicBezTo>
                  <a:pt x="187464" y="67930"/>
                  <a:pt x="189384" y="73742"/>
                  <a:pt x="189529" y="80716"/>
                </a:cubicBezTo>
                <a:cubicBezTo>
                  <a:pt x="189304" y="90503"/>
                  <a:pt x="186115" y="97831"/>
                  <a:pt x="179964" y="102699"/>
                </a:cubicBezTo>
                <a:cubicBezTo>
                  <a:pt x="173812" y="107568"/>
                  <a:pt x="166050" y="110000"/>
                  <a:pt x="156677" y="109996"/>
                </a:cubicBezTo>
                <a:cubicBezTo>
                  <a:pt x="147304" y="110000"/>
                  <a:pt x="139542" y="107568"/>
                  <a:pt x="133390" y="102699"/>
                </a:cubicBezTo>
                <a:cubicBezTo>
                  <a:pt x="127239" y="97831"/>
                  <a:pt x="124050" y="90503"/>
                  <a:pt x="123825" y="80716"/>
                </a:cubicBezTo>
                <a:cubicBezTo>
                  <a:pt x="123970" y="73742"/>
                  <a:pt x="125890" y="67930"/>
                  <a:pt x="129585" y="63280"/>
                </a:cubicBezTo>
                <a:cubicBezTo>
                  <a:pt x="133280" y="58630"/>
                  <a:pt x="137880" y="55393"/>
                  <a:pt x="143383" y="53570"/>
                </a:cubicBezTo>
                <a:cubicBezTo>
                  <a:pt x="138748" y="51532"/>
                  <a:pt x="135060" y="48545"/>
                  <a:pt x="132319" y="44609"/>
                </a:cubicBezTo>
                <a:cubicBezTo>
                  <a:pt x="129579" y="40673"/>
                  <a:pt x="128176" y="36040"/>
                  <a:pt x="128111" y="30709"/>
                </a:cubicBezTo>
                <a:cubicBezTo>
                  <a:pt x="128158" y="22416"/>
                  <a:pt x="130632" y="15958"/>
                  <a:pt x="135533" y="11333"/>
                </a:cubicBezTo>
                <a:cubicBezTo>
                  <a:pt x="140434" y="6709"/>
                  <a:pt x="147482" y="4360"/>
                  <a:pt x="156677" y="4286"/>
                </a:cubicBezTo>
                <a:close/>
                <a:moveTo>
                  <a:pt x="77334" y="4286"/>
                </a:moveTo>
                <a:cubicBezTo>
                  <a:pt x="85915" y="4259"/>
                  <a:pt x="92832" y="6560"/>
                  <a:pt x="98085" y="11190"/>
                </a:cubicBezTo>
                <a:cubicBezTo>
                  <a:pt x="103337" y="15820"/>
                  <a:pt x="106038" y="22944"/>
                  <a:pt x="106186" y="32562"/>
                </a:cubicBezTo>
                <a:cubicBezTo>
                  <a:pt x="106055" y="39186"/>
                  <a:pt x="104284" y="45516"/>
                  <a:pt x="100871" y="51550"/>
                </a:cubicBezTo>
                <a:cubicBezTo>
                  <a:pt x="97458" y="57585"/>
                  <a:pt x="93186" y="63450"/>
                  <a:pt x="88054" y="69145"/>
                </a:cubicBezTo>
                <a:lnTo>
                  <a:pt x="60181" y="100870"/>
                </a:lnTo>
                <a:lnTo>
                  <a:pt x="107614" y="100870"/>
                </a:lnTo>
                <a:lnTo>
                  <a:pt x="107614" y="108567"/>
                </a:lnTo>
                <a:lnTo>
                  <a:pt x="49051" y="108567"/>
                </a:lnTo>
                <a:lnTo>
                  <a:pt x="49051" y="101298"/>
                </a:lnTo>
                <a:lnTo>
                  <a:pt x="81622" y="63572"/>
                </a:lnTo>
                <a:cubicBezTo>
                  <a:pt x="86256" y="58386"/>
                  <a:pt x="89925" y="53361"/>
                  <a:pt x="92628" y="48496"/>
                </a:cubicBezTo>
                <a:cubicBezTo>
                  <a:pt x="95332" y="43631"/>
                  <a:pt x="96714" y="38320"/>
                  <a:pt x="96774" y="32562"/>
                </a:cubicBezTo>
                <a:cubicBezTo>
                  <a:pt x="96714" y="25753"/>
                  <a:pt x="94975" y="20579"/>
                  <a:pt x="91556" y="17039"/>
                </a:cubicBezTo>
                <a:cubicBezTo>
                  <a:pt x="88138" y="13499"/>
                  <a:pt x="83397" y="11719"/>
                  <a:pt x="77334" y="11698"/>
                </a:cubicBezTo>
                <a:cubicBezTo>
                  <a:pt x="70711" y="11734"/>
                  <a:pt x="65589" y="13484"/>
                  <a:pt x="61968" y="16950"/>
                </a:cubicBezTo>
                <a:cubicBezTo>
                  <a:pt x="58347" y="20415"/>
                  <a:pt x="56513" y="25381"/>
                  <a:pt x="56465" y="31848"/>
                </a:cubicBezTo>
                <a:lnTo>
                  <a:pt x="47625" y="31848"/>
                </a:lnTo>
                <a:cubicBezTo>
                  <a:pt x="47630" y="23384"/>
                  <a:pt x="50116" y="16701"/>
                  <a:pt x="55082" y="11797"/>
                </a:cubicBezTo>
                <a:cubicBezTo>
                  <a:pt x="60049" y="6893"/>
                  <a:pt x="67466" y="4390"/>
                  <a:pt x="77334" y="4286"/>
                </a:cubicBezTo>
                <a:close/>
                <a:moveTo>
                  <a:pt x="1216342" y="0"/>
                </a:moveTo>
                <a:lnTo>
                  <a:pt x="1225772" y="0"/>
                </a:lnTo>
                <a:cubicBezTo>
                  <a:pt x="1229140" y="3428"/>
                  <a:pt x="1232451" y="7826"/>
                  <a:pt x="1235705" y="13195"/>
                </a:cubicBezTo>
                <a:cubicBezTo>
                  <a:pt x="1238959" y="18565"/>
                  <a:pt x="1241666" y="24910"/>
                  <a:pt x="1243824" y="32232"/>
                </a:cubicBezTo>
                <a:cubicBezTo>
                  <a:pt x="1245983" y="39553"/>
                  <a:pt x="1247103" y="47856"/>
                  <a:pt x="1247185" y="57141"/>
                </a:cubicBezTo>
                <a:cubicBezTo>
                  <a:pt x="1247103" y="66426"/>
                  <a:pt x="1245983" y="74729"/>
                  <a:pt x="1243824" y="82050"/>
                </a:cubicBezTo>
                <a:cubicBezTo>
                  <a:pt x="1241666" y="89372"/>
                  <a:pt x="1238959" y="95718"/>
                  <a:pt x="1235705" y="101087"/>
                </a:cubicBezTo>
                <a:cubicBezTo>
                  <a:pt x="1232451" y="106456"/>
                  <a:pt x="1229140" y="110855"/>
                  <a:pt x="1225772" y="114282"/>
                </a:cubicBezTo>
                <a:lnTo>
                  <a:pt x="1216342" y="114282"/>
                </a:lnTo>
                <a:cubicBezTo>
                  <a:pt x="1222423" y="107152"/>
                  <a:pt x="1227477" y="98842"/>
                  <a:pt x="1231505" y="89354"/>
                </a:cubicBezTo>
                <a:cubicBezTo>
                  <a:pt x="1235532" y="79867"/>
                  <a:pt x="1237621" y="69129"/>
                  <a:pt x="1237773" y="57141"/>
                </a:cubicBezTo>
                <a:cubicBezTo>
                  <a:pt x="1237621" y="45153"/>
                  <a:pt x="1235532" y="34415"/>
                  <a:pt x="1231505" y="24928"/>
                </a:cubicBezTo>
                <a:cubicBezTo>
                  <a:pt x="1227477" y="15440"/>
                  <a:pt x="1222423" y="7131"/>
                  <a:pt x="1216342" y="0"/>
                </a:cubicBezTo>
                <a:close/>
                <a:moveTo>
                  <a:pt x="21413" y="0"/>
                </a:moveTo>
                <a:lnTo>
                  <a:pt x="30843" y="0"/>
                </a:lnTo>
                <a:cubicBezTo>
                  <a:pt x="24762" y="7131"/>
                  <a:pt x="19708" y="15440"/>
                  <a:pt x="15680" y="24928"/>
                </a:cubicBezTo>
                <a:cubicBezTo>
                  <a:pt x="11653" y="34415"/>
                  <a:pt x="9563" y="45153"/>
                  <a:pt x="9412" y="57141"/>
                </a:cubicBezTo>
                <a:cubicBezTo>
                  <a:pt x="9563" y="69129"/>
                  <a:pt x="11653" y="79867"/>
                  <a:pt x="15680" y="89354"/>
                </a:cubicBezTo>
                <a:cubicBezTo>
                  <a:pt x="19708" y="98842"/>
                  <a:pt x="24762" y="107152"/>
                  <a:pt x="30843" y="114282"/>
                </a:cubicBezTo>
                <a:lnTo>
                  <a:pt x="21413" y="114282"/>
                </a:lnTo>
                <a:cubicBezTo>
                  <a:pt x="18045" y="110855"/>
                  <a:pt x="14734" y="106456"/>
                  <a:pt x="11480" y="101087"/>
                </a:cubicBezTo>
                <a:cubicBezTo>
                  <a:pt x="8226" y="95718"/>
                  <a:pt x="5519" y="89372"/>
                  <a:pt x="3361" y="82050"/>
                </a:cubicBezTo>
                <a:cubicBezTo>
                  <a:pt x="1202" y="74729"/>
                  <a:pt x="81" y="66426"/>
                  <a:pt x="0" y="57141"/>
                </a:cubicBezTo>
                <a:cubicBezTo>
                  <a:pt x="81" y="47856"/>
                  <a:pt x="1202" y="39553"/>
                  <a:pt x="3361" y="32232"/>
                </a:cubicBezTo>
                <a:cubicBezTo>
                  <a:pt x="5519" y="24910"/>
                  <a:pt x="8226" y="18565"/>
                  <a:pt x="11480" y="13195"/>
                </a:cubicBezTo>
                <a:cubicBezTo>
                  <a:pt x="14734" y="7826"/>
                  <a:pt x="18045" y="3428"/>
                  <a:pt x="2141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F18F7DE-6CC5-4129-0162-56D23C82DD4A}"/>
              </a:ext>
            </a:extLst>
          </p:cNvPr>
          <p:cNvSpPr txBox="1">
            <a:spLocks/>
          </p:cNvSpPr>
          <p:nvPr/>
        </p:nvSpPr>
        <p:spPr bwMode="gray">
          <a:xfrm>
            <a:off x="1155969" y="1203325"/>
            <a:ext cx="684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766" rtl="0" eaLnBrk="1" latinLnBrk="0" hangingPunct="1">
              <a:spcBef>
                <a:spcPct val="0"/>
              </a:spcBef>
              <a:buNone/>
              <a:defRPr sz="1800" kern="1200" cap="none" baseline="0">
                <a:solidFill>
                  <a:schemeClr val="accent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r>
              <a:rPr lang="pt-BR" dirty="0"/>
              <a:t>Pellentesque eu, pretium quis, sem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9C51AAC-47AE-2181-1C18-D65A20CFE772}"/>
              </a:ext>
            </a:extLst>
          </p:cNvPr>
          <p:cNvSpPr txBox="1">
            <a:spLocks/>
          </p:cNvSpPr>
          <p:nvPr/>
        </p:nvSpPr>
        <p:spPr bwMode="gray">
          <a:xfrm>
            <a:off x="1155969" y="1484026"/>
            <a:ext cx="684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400" b="0" kern="1200" cap="none" baseline="0" noProof="0" dirty="0">
                <a:solidFill>
                  <a:schemeClr val="bg1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Nulla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</a:p>
        </p:txBody>
      </p:sp>
      <p:sp>
        <p:nvSpPr>
          <p:cNvPr id="21" name="Foliennummernplatzhalter 8">
            <a:extLst>
              <a:ext uri="{FF2B5EF4-FFF2-40B4-BE49-F238E27FC236}">
                <a16:creationId xmlns:a16="http://schemas.microsoft.com/office/drawing/2014/main" id="{BE1F7000-3D49-8185-2A27-AC805B43011C}"/>
              </a:ext>
            </a:extLst>
          </p:cNvPr>
          <p:cNvSpPr txBox="1">
            <a:spLocks/>
          </p:cNvSpPr>
          <p:nvPr/>
        </p:nvSpPr>
        <p:spPr bwMode="gray">
          <a:xfrm>
            <a:off x="8392773" y="4860634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defRPr sz="800" kern="1200">
                <a:solidFill>
                  <a:srgbClr val="939494"/>
                </a:solidFill>
                <a:latin typeface="DWS Slab" panose="02010504010101010104" pitchFamily="50" charset="0"/>
                <a:ea typeface="+mn-ea"/>
                <a:cs typeface="DWS Slab" panose="02010504010101010104" pitchFamily="50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827 2.16944 L 0.00694 -0.0422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760" y="-11058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1574 L 3.33333E-6 3.82716E-6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4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0.01574 L -4.16667E-6 -3.7037E-7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4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3333E-6 -0.01574 L 3.33333E-6 3.33333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4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4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4.72222E-6 0.01666 L 4.72222E-6 2.46914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4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22222E-6 0.01666 L 2.22222E-6 2.83951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15" grpId="0"/>
      <p:bldP spid="15" grpId="1"/>
      <p:bldP spid="20" grpId="0"/>
      <p:bldP spid="20" grpId="1"/>
      <p:bldP spid="18" grpId="0"/>
      <p:bldP spid="18" grpId="1"/>
      <p:bldP spid="25" grpId="0"/>
      <p:bldP spid="25" grpId="1"/>
      <p:bldP spid="4" grpId="0"/>
      <p:bldP spid="4" grpId="1"/>
      <p:bldP spid="32" grpId="0"/>
      <p:bldP spid="32" grpId="1"/>
      <p:bldP spid="85" grpId="0" animBg="1"/>
      <p:bldP spid="85" grpId="1" animBg="1"/>
      <p:bldP spid="87" grpId="0" animBg="1"/>
      <p:bldP spid="87" grpId="1" animBg="1"/>
      <p:bldP spid="14" grpId="0"/>
      <p:bldP spid="16" grpId="0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6BBEADC-CD89-106E-B313-D7397DCB7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07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22">
            <a:extLst>
              <a:ext uri="{FF2B5EF4-FFF2-40B4-BE49-F238E27FC236}">
                <a16:creationId xmlns:a16="http://schemas.microsoft.com/office/drawing/2014/main" id="{C429DFBB-0321-B814-AC0F-93B23C38F2D1}"/>
              </a:ext>
            </a:extLst>
          </p:cNvPr>
          <p:cNvSpPr txBox="1"/>
          <p:nvPr/>
        </p:nvSpPr>
        <p:spPr>
          <a:xfrm>
            <a:off x="431800" y="204650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Nam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C3610239-08C2-60BE-C2BA-C78DEF8AE309}"/>
              </a:ext>
            </a:extLst>
          </p:cNvPr>
          <p:cNvSpPr txBox="1"/>
          <p:nvPr/>
        </p:nvSpPr>
        <p:spPr>
          <a:xfrm>
            <a:off x="431800" y="153645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Varius</a:t>
            </a:r>
            <a:r>
              <a:rPr lang="de-DE" sz="1050" b="1" dirty="0"/>
              <a:t> </a:t>
            </a:r>
            <a:r>
              <a:rPr lang="de-DE" sz="1050" b="1" dirty="0" err="1"/>
              <a:t>laoreet</a:t>
            </a:r>
            <a:r>
              <a:rPr lang="de-DE" sz="1050" b="1" dirty="0"/>
              <a:t>.</a:t>
            </a:r>
          </a:p>
        </p:txBody>
      </p:sp>
      <p:graphicFrame>
        <p:nvGraphicFramePr>
          <p:cNvPr id="4" name="Diagramm 13">
            <a:extLst>
              <a:ext uri="{FF2B5EF4-FFF2-40B4-BE49-F238E27FC236}">
                <a16:creationId xmlns:a16="http://schemas.microsoft.com/office/drawing/2014/main" id="{A0874DF9-A1F9-C4CA-50EA-D519C950C08D}"/>
              </a:ext>
            </a:extLst>
          </p:cNvPr>
          <p:cNvGraphicFramePr/>
          <p:nvPr/>
        </p:nvGraphicFramePr>
        <p:xfrm>
          <a:off x="1587004" y="1228725"/>
          <a:ext cx="4497164" cy="3337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43439A-3635-4A24-8D75-98A5F84C8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Sem </a:t>
            </a:r>
            <a:r>
              <a:rPr lang="en-US" dirty="0" err="1"/>
              <a:t>quam</a:t>
            </a:r>
            <a:r>
              <a:rPr lang="en-US" dirty="0"/>
              <a:t> semper libe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347563-47F2-42DD-A29E-99D3459F6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6DF9E4-61B5-4210-8619-FDD45496E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1CBC1574-AC7A-E861-9D6B-E8331F79AF3F}"/>
              </a:ext>
            </a:extLst>
          </p:cNvPr>
          <p:cNvSpPr txBox="1"/>
          <p:nvPr/>
        </p:nvSpPr>
        <p:spPr>
          <a:xfrm>
            <a:off x="434876" y="256153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Tellus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2" name="Textfeld 22">
            <a:extLst>
              <a:ext uri="{FF2B5EF4-FFF2-40B4-BE49-F238E27FC236}">
                <a16:creationId xmlns:a16="http://schemas.microsoft.com/office/drawing/2014/main" id="{8A653829-39D6-9997-0924-0DEC84BF911C}"/>
              </a:ext>
            </a:extLst>
          </p:cNvPr>
          <p:cNvSpPr txBox="1"/>
          <p:nvPr/>
        </p:nvSpPr>
        <p:spPr>
          <a:xfrm>
            <a:off x="651698" y="3576656"/>
            <a:ext cx="9502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Hendrerit</a:t>
            </a:r>
            <a:r>
              <a:rPr lang="de-DE" sz="1050" b="1" dirty="0"/>
              <a:t> </a:t>
            </a:r>
            <a:r>
              <a:rPr lang="de-DE" sz="1050" b="1" dirty="0" err="1"/>
              <a:t>id</a:t>
            </a:r>
            <a:endParaRPr lang="de-DE" sz="1050" b="1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D1FE59EB-0D44-BCEE-013C-40B3D019E189}"/>
              </a:ext>
            </a:extLst>
          </p:cNvPr>
          <p:cNvSpPr txBox="1"/>
          <p:nvPr/>
        </p:nvSpPr>
        <p:spPr>
          <a:xfrm>
            <a:off x="434876" y="307158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Uctus</a:t>
            </a:r>
            <a:r>
              <a:rPr lang="de-DE" sz="1050" b="1" dirty="0"/>
              <a:t> </a:t>
            </a:r>
            <a:r>
              <a:rPr lang="de-DE" sz="1050" b="1" dirty="0" err="1"/>
              <a:t>pulvinar</a:t>
            </a:r>
            <a:endParaRPr lang="de-DE" sz="1050" b="1" dirty="0"/>
          </a:p>
        </p:txBody>
      </p:sp>
      <p:sp>
        <p:nvSpPr>
          <p:cNvPr id="17" name="Textfeld 22">
            <a:extLst>
              <a:ext uri="{FF2B5EF4-FFF2-40B4-BE49-F238E27FC236}">
                <a16:creationId xmlns:a16="http://schemas.microsoft.com/office/drawing/2014/main" id="{E1C56134-FE5C-3001-0EC2-D0720604243F}"/>
              </a:ext>
            </a:extLst>
          </p:cNvPr>
          <p:cNvSpPr txBox="1"/>
          <p:nvPr/>
        </p:nvSpPr>
        <p:spPr>
          <a:xfrm>
            <a:off x="431800" y="4091683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Donec</a:t>
            </a:r>
            <a:r>
              <a:rPr lang="de-DE" sz="1050" b="1" dirty="0"/>
              <a:t> </a:t>
            </a:r>
            <a:r>
              <a:rPr lang="de-DE" sz="1050" b="1" dirty="0" err="1"/>
              <a:t>sodales</a:t>
            </a:r>
            <a:endParaRPr lang="de-DE" sz="1050" b="1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8FFA36A-77EE-AB2E-1E66-A758D8DB5163}"/>
              </a:ext>
            </a:extLst>
          </p:cNvPr>
          <p:cNvSpPr/>
          <p:nvPr/>
        </p:nvSpPr>
        <p:spPr>
          <a:xfrm>
            <a:off x="5421189" y="-1895960"/>
            <a:ext cx="3759323" cy="8010369"/>
          </a:xfrm>
          <a:custGeom>
            <a:avLst/>
            <a:gdLst>
              <a:gd name="connsiteX0" fmla="*/ 2061422 w 2061422"/>
              <a:gd name="connsiteY0" fmla="*/ 0 h 4392484"/>
              <a:gd name="connsiteX1" fmla="*/ 2060468 w 2061422"/>
              <a:gd name="connsiteY1" fmla="*/ 1938215 h 4392484"/>
              <a:gd name="connsiteX2" fmla="*/ 0 w 2061422"/>
              <a:gd name="connsiteY2" fmla="*/ 4392484 h 4392484"/>
              <a:gd name="connsiteX3" fmla="*/ 0 w 2061422"/>
              <a:gd name="connsiteY3" fmla="*/ 2191676 h 4392484"/>
              <a:gd name="connsiteX4" fmla="*/ 1832972 w 2061422"/>
              <a:gd name="connsiteY4" fmla="*/ 3362 h 4392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1422" h="4392484">
                <a:moveTo>
                  <a:pt x="2061422" y="0"/>
                </a:moveTo>
                <a:lnTo>
                  <a:pt x="2060468" y="1938215"/>
                </a:lnTo>
                <a:lnTo>
                  <a:pt x="0" y="4392484"/>
                </a:lnTo>
                <a:lnTo>
                  <a:pt x="0" y="2191676"/>
                </a:lnTo>
                <a:lnTo>
                  <a:pt x="1832972" y="3362"/>
                </a:lnTo>
                <a:close/>
              </a:path>
            </a:pathLst>
          </a:custGeom>
          <a:gradFill>
            <a:gsLst>
              <a:gs pos="13000">
                <a:schemeClr val="bg1">
                  <a:alpha val="15000"/>
                </a:schemeClr>
              </a:gs>
              <a:gs pos="97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B274A15-B25A-1A6C-98AC-0C3DE4A52E50}"/>
              </a:ext>
            </a:extLst>
          </p:cNvPr>
          <p:cNvSpPr/>
          <p:nvPr/>
        </p:nvSpPr>
        <p:spPr>
          <a:xfrm rot="10800000">
            <a:off x="7164288" y="411510"/>
            <a:ext cx="2463179" cy="4876884"/>
          </a:xfrm>
          <a:custGeom>
            <a:avLst/>
            <a:gdLst>
              <a:gd name="connsiteX0" fmla="*/ 0 w 1872069"/>
              <a:gd name="connsiteY0" fmla="*/ 3706538 h 3706538"/>
              <a:gd name="connsiteX1" fmla="*/ 0 w 1872069"/>
              <a:gd name="connsiteY1" fmla="*/ 2885651 h 3706538"/>
              <a:gd name="connsiteX2" fmla="*/ 1871342 w 1872069"/>
              <a:gd name="connsiteY2" fmla="*/ 656654 h 3706538"/>
              <a:gd name="connsiteX3" fmla="*/ 1871666 w 1872069"/>
              <a:gd name="connsiteY3" fmla="*/ 6 h 3706538"/>
              <a:gd name="connsiteX4" fmla="*/ 1872069 w 1872069"/>
              <a:gd name="connsiteY4" fmla="*/ 0 h 3706538"/>
              <a:gd name="connsiteX5" fmla="*/ 1871342 w 1872069"/>
              <a:gd name="connsiteY5" fmla="*/ 1477541 h 3706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2069" h="3706538">
                <a:moveTo>
                  <a:pt x="0" y="3706538"/>
                </a:moveTo>
                <a:lnTo>
                  <a:pt x="0" y="2885651"/>
                </a:lnTo>
                <a:lnTo>
                  <a:pt x="1871342" y="656654"/>
                </a:lnTo>
                <a:lnTo>
                  <a:pt x="1871666" y="6"/>
                </a:lnTo>
                <a:lnTo>
                  <a:pt x="1872069" y="0"/>
                </a:lnTo>
                <a:lnTo>
                  <a:pt x="1871342" y="1477541"/>
                </a:lnTo>
                <a:close/>
              </a:path>
            </a:pathLst>
          </a:custGeom>
          <a:gradFill>
            <a:gsLst>
              <a:gs pos="11000">
                <a:schemeClr val="bg1">
                  <a:alpha val="15000"/>
                </a:schemeClr>
              </a:gs>
              <a:gs pos="58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ED1A8724-43AE-E747-FD92-AFC20C3BEC80}"/>
              </a:ext>
            </a:extLst>
          </p:cNvPr>
          <p:cNvSpPr txBox="1"/>
          <p:nvPr/>
        </p:nvSpPr>
        <p:spPr>
          <a:xfrm>
            <a:off x="5496158" y="1854680"/>
            <a:ext cx="2491909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7200" dirty="0">
                <a:solidFill>
                  <a:srgbClr val="D34F8E"/>
                </a:solidFill>
              </a:rPr>
              <a:t>227k</a:t>
            </a:r>
            <a:endParaRPr lang="de-DE" sz="72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24" name="Textfeld 22">
            <a:extLst>
              <a:ext uri="{FF2B5EF4-FFF2-40B4-BE49-F238E27FC236}">
                <a16:creationId xmlns:a16="http://schemas.microsoft.com/office/drawing/2014/main" id="{BAD23068-1815-2DFF-0916-A606335D01CA}"/>
              </a:ext>
            </a:extLst>
          </p:cNvPr>
          <p:cNvSpPr txBox="1"/>
          <p:nvPr/>
        </p:nvSpPr>
        <p:spPr>
          <a:xfrm>
            <a:off x="5208439" y="2938646"/>
            <a:ext cx="2482240" cy="2048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100" dirty="0"/>
              <a:t>(28 % Media Traffic)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4C53BDB3-2314-1E4A-B092-F13C5D5ACB30}"/>
              </a:ext>
            </a:extLst>
          </p:cNvPr>
          <p:cNvSpPr txBox="1">
            <a:spLocks/>
          </p:cNvSpPr>
          <p:nvPr/>
        </p:nvSpPr>
        <p:spPr bwMode="gray">
          <a:xfrm>
            <a:off x="5515724" y="1810109"/>
            <a:ext cx="267392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300"/>
              </a:spcBef>
              <a:spcAft>
                <a:spcPts val="0"/>
              </a:spcAft>
              <a:buNone/>
            </a:pPr>
            <a:r>
              <a:rPr lang="de-DE" b="1" dirty="0">
                <a:solidFill>
                  <a:schemeClr val="tx1"/>
                </a:solidFill>
              </a:rPr>
              <a:t>LEO EGET BIBENDUM</a:t>
            </a:r>
          </a:p>
        </p:txBody>
      </p:sp>
      <p:sp>
        <p:nvSpPr>
          <p:cNvPr id="49" name="Textfeld 22">
            <a:extLst>
              <a:ext uri="{FF2B5EF4-FFF2-40B4-BE49-F238E27FC236}">
                <a16:creationId xmlns:a16="http://schemas.microsoft.com/office/drawing/2014/main" id="{1801C807-1024-97E4-73EB-1520EF1AB51C}"/>
              </a:ext>
            </a:extLst>
          </p:cNvPr>
          <p:cNvSpPr txBox="1"/>
          <p:nvPr/>
        </p:nvSpPr>
        <p:spPr>
          <a:xfrm>
            <a:off x="3534173" y="2468083"/>
            <a:ext cx="6377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60B465"/>
                </a:solidFill>
              </a:rPr>
              <a:t>27%</a:t>
            </a:r>
          </a:p>
        </p:txBody>
      </p:sp>
      <p:sp>
        <p:nvSpPr>
          <p:cNvPr id="50" name="Textfeld 22">
            <a:extLst>
              <a:ext uri="{FF2B5EF4-FFF2-40B4-BE49-F238E27FC236}">
                <a16:creationId xmlns:a16="http://schemas.microsoft.com/office/drawing/2014/main" id="{3F3C0548-D82D-7264-A090-9E48E576B621}"/>
              </a:ext>
            </a:extLst>
          </p:cNvPr>
          <p:cNvSpPr txBox="1"/>
          <p:nvPr/>
        </p:nvSpPr>
        <p:spPr>
          <a:xfrm>
            <a:off x="1884845" y="4011910"/>
            <a:ext cx="4011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BD654"/>
                </a:solidFill>
              </a:rPr>
              <a:t>1%</a:t>
            </a:r>
          </a:p>
        </p:txBody>
      </p:sp>
      <p:sp>
        <p:nvSpPr>
          <p:cNvPr id="51" name="Textfeld 22">
            <a:extLst>
              <a:ext uri="{FF2B5EF4-FFF2-40B4-BE49-F238E27FC236}">
                <a16:creationId xmlns:a16="http://schemas.microsoft.com/office/drawing/2014/main" id="{752666BE-7637-C586-A83E-B4EFD2D7A534}"/>
              </a:ext>
            </a:extLst>
          </p:cNvPr>
          <p:cNvSpPr txBox="1"/>
          <p:nvPr/>
        </p:nvSpPr>
        <p:spPr>
          <a:xfrm>
            <a:off x="2013621" y="2977612"/>
            <a:ext cx="4628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AA299"/>
                </a:solidFill>
              </a:rPr>
              <a:t>3%</a:t>
            </a:r>
          </a:p>
        </p:txBody>
      </p:sp>
      <p:sp>
        <p:nvSpPr>
          <p:cNvPr id="52" name="Textfeld 22">
            <a:extLst>
              <a:ext uri="{FF2B5EF4-FFF2-40B4-BE49-F238E27FC236}">
                <a16:creationId xmlns:a16="http://schemas.microsoft.com/office/drawing/2014/main" id="{54A1A007-DCE2-BECC-F238-149CFD4FCF83}"/>
              </a:ext>
            </a:extLst>
          </p:cNvPr>
          <p:cNvSpPr txBox="1"/>
          <p:nvPr/>
        </p:nvSpPr>
        <p:spPr>
          <a:xfrm>
            <a:off x="3874780" y="1958554"/>
            <a:ext cx="61149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755BBA"/>
                </a:solidFill>
              </a:rPr>
              <a:t>32%</a:t>
            </a:r>
          </a:p>
        </p:txBody>
      </p:sp>
      <p:sp>
        <p:nvSpPr>
          <p:cNvPr id="53" name="Textfeld 22">
            <a:extLst>
              <a:ext uri="{FF2B5EF4-FFF2-40B4-BE49-F238E27FC236}">
                <a16:creationId xmlns:a16="http://schemas.microsoft.com/office/drawing/2014/main" id="{ABEDF06F-C290-3D64-A5B0-EA449029C282}"/>
              </a:ext>
            </a:extLst>
          </p:cNvPr>
          <p:cNvSpPr txBox="1"/>
          <p:nvPr/>
        </p:nvSpPr>
        <p:spPr>
          <a:xfrm>
            <a:off x="1835696" y="3494761"/>
            <a:ext cx="4026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1"/>
                </a:solidFill>
              </a:rPr>
              <a:t>1%</a:t>
            </a:r>
          </a:p>
        </p:txBody>
      </p:sp>
      <p:sp>
        <p:nvSpPr>
          <p:cNvPr id="55" name="Textfeld 22">
            <a:extLst>
              <a:ext uri="{FF2B5EF4-FFF2-40B4-BE49-F238E27FC236}">
                <a16:creationId xmlns:a16="http://schemas.microsoft.com/office/drawing/2014/main" id="{C5D3B881-4140-3503-6B00-3E64997B8C67}"/>
              </a:ext>
            </a:extLst>
          </p:cNvPr>
          <p:cNvSpPr txBox="1"/>
          <p:nvPr/>
        </p:nvSpPr>
        <p:spPr>
          <a:xfrm>
            <a:off x="4090804" y="1456645"/>
            <a:ext cx="624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6"/>
                </a:solidFill>
              </a:rPr>
              <a:t>36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62A163-31C2-804E-B0C9-2F85C8F77977}"/>
              </a:ext>
            </a:extLst>
          </p:cNvPr>
          <p:cNvCxnSpPr>
            <a:cxnSpLocks/>
          </p:cNvCxnSpPr>
          <p:nvPr/>
        </p:nvCxnSpPr>
        <p:spPr>
          <a:xfrm>
            <a:off x="1731818" y="1385454"/>
            <a:ext cx="0" cy="3034145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4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Objekt 256" hidden="1">
            <a:extLst>
              <a:ext uri="{FF2B5EF4-FFF2-40B4-BE49-F238E27FC236}">
                <a16:creationId xmlns:a16="http://schemas.microsoft.com/office/drawing/2014/main" id="{B891150F-760B-F199-AC3A-C38679CA2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81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96D1FFDF-C578-5850-4DAA-5F888545E235}"/>
              </a:ext>
            </a:extLst>
          </p:cNvPr>
          <p:cNvGrpSpPr/>
          <p:nvPr/>
        </p:nvGrpSpPr>
        <p:grpSpPr>
          <a:xfrm>
            <a:off x="2411760" y="-2340243"/>
            <a:ext cx="16637842" cy="7477453"/>
            <a:chOff x="781544" y="-2340243"/>
            <a:chExt cx="16637842" cy="747745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28418DD-3347-41F4-E1F5-7B88C42A6414}"/>
                </a:ext>
              </a:extLst>
            </p:cNvPr>
            <p:cNvSpPr/>
            <p:nvPr/>
          </p:nvSpPr>
          <p:spPr>
            <a:xfrm>
              <a:off x="111450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-1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-1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98C4F2B-4E47-3C5F-E13E-B2F6F37F61A9}"/>
                </a:ext>
              </a:extLst>
            </p:cNvPr>
            <p:cNvSpPr/>
            <p:nvPr/>
          </p:nvSpPr>
          <p:spPr>
            <a:xfrm>
              <a:off x="110414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4ECE456-FCAA-9CBD-8E15-0CCC3AD2D7E6}"/>
                </a:ext>
              </a:extLst>
            </p:cNvPr>
            <p:cNvSpPr/>
            <p:nvPr/>
          </p:nvSpPr>
          <p:spPr>
            <a:xfrm>
              <a:off x="1093772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B50D6C-17D6-4379-E84A-B90B0F587BFE}"/>
                </a:ext>
              </a:extLst>
            </p:cNvPr>
            <p:cNvSpPr/>
            <p:nvPr/>
          </p:nvSpPr>
          <p:spPr>
            <a:xfrm>
              <a:off x="1083412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019087B-BA82-1EA1-4CFB-1E2A021E3E9D}"/>
                </a:ext>
              </a:extLst>
            </p:cNvPr>
            <p:cNvSpPr/>
            <p:nvPr/>
          </p:nvSpPr>
          <p:spPr>
            <a:xfrm>
              <a:off x="1073051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FE017A3-AF98-3549-3412-8DFE31022138}"/>
                </a:ext>
              </a:extLst>
            </p:cNvPr>
            <p:cNvSpPr/>
            <p:nvPr/>
          </p:nvSpPr>
          <p:spPr>
            <a:xfrm>
              <a:off x="1062690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F7FE58-E9A5-813E-23B7-9E913F5C1E0D}"/>
                </a:ext>
              </a:extLst>
            </p:cNvPr>
            <p:cNvSpPr/>
            <p:nvPr/>
          </p:nvSpPr>
          <p:spPr>
            <a:xfrm>
              <a:off x="1052319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147C6EC-0153-CC43-5E08-078DDE3B8886}"/>
                </a:ext>
              </a:extLst>
            </p:cNvPr>
            <p:cNvSpPr/>
            <p:nvPr/>
          </p:nvSpPr>
          <p:spPr>
            <a:xfrm>
              <a:off x="1041958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35A83B4-A2C2-83F3-D3CA-8E27CCCEAD68}"/>
                </a:ext>
              </a:extLst>
            </p:cNvPr>
            <p:cNvSpPr/>
            <p:nvPr/>
          </p:nvSpPr>
          <p:spPr>
            <a:xfrm>
              <a:off x="1031597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F5B61-91F1-9324-5E4C-E8038B2C4B39}"/>
                </a:ext>
              </a:extLst>
            </p:cNvPr>
            <p:cNvSpPr/>
            <p:nvPr/>
          </p:nvSpPr>
          <p:spPr>
            <a:xfrm>
              <a:off x="1021237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96828D-B3CA-081C-9544-459696D131EE}"/>
                </a:ext>
              </a:extLst>
            </p:cNvPr>
            <p:cNvSpPr/>
            <p:nvPr/>
          </p:nvSpPr>
          <p:spPr>
            <a:xfrm>
              <a:off x="1010865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9615F63-F9D3-6D83-68DB-CBE3CF32DECC}"/>
                </a:ext>
              </a:extLst>
            </p:cNvPr>
            <p:cNvSpPr/>
            <p:nvPr/>
          </p:nvSpPr>
          <p:spPr>
            <a:xfrm>
              <a:off x="1000505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AA0DB4-928F-E10D-007B-80F3B72B7F18}"/>
                </a:ext>
              </a:extLst>
            </p:cNvPr>
            <p:cNvSpPr/>
            <p:nvPr/>
          </p:nvSpPr>
          <p:spPr>
            <a:xfrm>
              <a:off x="990144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A2C2373-D55A-FCD7-D999-0D3223C5075C}"/>
                </a:ext>
              </a:extLst>
            </p:cNvPr>
            <p:cNvSpPr/>
            <p:nvPr/>
          </p:nvSpPr>
          <p:spPr>
            <a:xfrm>
              <a:off x="979783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98F0401-BE8F-9ADE-15E1-63BDD2A77A5A}"/>
                </a:ext>
              </a:extLst>
            </p:cNvPr>
            <p:cNvSpPr/>
            <p:nvPr/>
          </p:nvSpPr>
          <p:spPr>
            <a:xfrm>
              <a:off x="969412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3973344-F507-5935-8C98-E532B998FCEB}"/>
                </a:ext>
              </a:extLst>
            </p:cNvPr>
            <p:cNvSpPr/>
            <p:nvPr/>
          </p:nvSpPr>
          <p:spPr>
            <a:xfrm>
              <a:off x="959051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EF62C42-135C-B873-C31C-3DBA8309AF80}"/>
                </a:ext>
              </a:extLst>
            </p:cNvPr>
            <p:cNvSpPr/>
            <p:nvPr/>
          </p:nvSpPr>
          <p:spPr>
            <a:xfrm>
              <a:off x="948690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8770EFC-DF8E-C424-BC7A-2909B105A4DB}"/>
                </a:ext>
              </a:extLst>
            </p:cNvPr>
            <p:cNvSpPr/>
            <p:nvPr/>
          </p:nvSpPr>
          <p:spPr>
            <a:xfrm>
              <a:off x="938319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B7E8F1-FA90-ED52-EC9C-30E2FD2BEA8C}"/>
                </a:ext>
              </a:extLst>
            </p:cNvPr>
            <p:cNvSpPr/>
            <p:nvPr/>
          </p:nvSpPr>
          <p:spPr>
            <a:xfrm>
              <a:off x="927958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D31E880-2D93-CD45-31CF-1F35785B61D9}"/>
                </a:ext>
              </a:extLst>
            </p:cNvPr>
            <p:cNvSpPr/>
            <p:nvPr/>
          </p:nvSpPr>
          <p:spPr>
            <a:xfrm>
              <a:off x="917597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043C5BB-2672-58DB-76A8-49B1EC39E548}"/>
                </a:ext>
              </a:extLst>
            </p:cNvPr>
            <p:cNvSpPr/>
            <p:nvPr/>
          </p:nvSpPr>
          <p:spPr>
            <a:xfrm>
              <a:off x="907237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F86A3A5-2D1F-A9EC-CB8F-54C2E8EBE92D}"/>
                </a:ext>
              </a:extLst>
            </p:cNvPr>
            <p:cNvSpPr/>
            <p:nvPr/>
          </p:nvSpPr>
          <p:spPr>
            <a:xfrm>
              <a:off x="896865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E458A7F-C4B9-5A1C-72DB-DCEDB1DC4418}"/>
                </a:ext>
              </a:extLst>
            </p:cNvPr>
            <p:cNvSpPr/>
            <p:nvPr/>
          </p:nvSpPr>
          <p:spPr>
            <a:xfrm>
              <a:off x="886504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C465F50-7FD1-FB96-402D-3F2B66E91AFF}"/>
                </a:ext>
              </a:extLst>
            </p:cNvPr>
            <p:cNvSpPr/>
            <p:nvPr/>
          </p:nvSpPr>
          <p:spPr>
            <a:xfrm>
              <a:off x="876144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5C03E63-A440-C74F-F156-CF780C614B52}"/>
                </a:ext>
              </a:extLst>
            </p:cNvPr>
            <p:cNvSpPr/>
            <p:nvPr/>
          </p:nvSpPr>
          <p:spPr>
            <a:xfrm>
              <a:off x="865783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A521E64-26CE-C1D0-7ED6-0E8B7198C64F}"/>
                </a:ext>
              </a:extLst>
            </p:cNvPr>
            <p:cNvSpPr/>
            <p:nvPr/>
          </p:nvSpPr>
          <p:spPr>
            <a:xfrm>
              <a:off x="855412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561DE9E-7E4E-E6D3-9DDE-D0B6E7ECB3E8}"/>
                </a:ext>
              </a:extLst>
            </p:cNvPr>
            <p:cNvSpPr/>
            <p:nvPr/>
          </p:nvSpPr>
          <p:spPr>
            <a:xfrm>
              <a:off x="845051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E6BD89-CD04-7ADA-3904-FD0CC2FF5570}"/>
                </a:ext>
              </a:extLst>
            </p:cNvPr>
            <p:cNvSpPr/>
            <p:nvPr/>
          </p:nvSpPr>
          <p:spPr>
            <a:xfrm>
              <a:off x="834690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F1E43DC-48B5-D2F6-A65A-AEEE98AF6DE5}"/>
                </a:ext>
              </a:extLst>
            </p:cNvPr>
            <p:cNvSpPr/>
            <p:nvPr/>
          </p:nvSpPr>
          <p:spPr>
            <a:xfrm>
              <a:off x="824329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598E13-EF92-4223-97DF-9483167CF9D2}"/>
                </a:ext>
              </a:extLst>
            </p:cNvPr>
            <p:cNvSpPr/>
            <p:nvPr/>
          </p:nvSpPr>
          <p:spPr>
            <a:xfrm>
              <a:off x="813958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1E23242-DF8C-E2D8-2131-E8AEDC9BE141}"/>
                </a:ext>
              </a:extLst>
            </p:cNvPr>
            <p:cNvSpPr/>
            <p:nvPr/>
          </p:nvSpPr>
          <p:spPr>
            <a:xfrm>
              <a:off x="803597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680C0B9-7204-2D85-EBED-041DFE7DDA89}"/>
                </a:ext>
              </a:extLst>
            </p:cNvPr>
            <p:cNvSpPr/>
            <p:nvPr/>
          </p:nvSpPr>
          <p:spPr>
            <a:xfrm>
              <a:off x="793237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CFC11F0-E54F-1E52-24C8-DCACB1B05F2D}"/>
                </a:ext>
              </a:extLst>
            </p:cNvPr>
            <p:cNvSpPr/>
            <p:nvPr/>
          </p:nvSpPr>
          <p:spPr>
            <a:xfrm>
              <a:off x="7828655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398D866-0ECD-3DF6-764C-3E9EE71F8566}"/>
                </a:ext>
              </a:extLst>
            </p:cNvPr>
            <p:cNvSpPr/>
            <p:nvPr/>
          </p:nvSpPr>
          <p:spPr>
            <a:xfrm>
              <a:off x="772504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DBE3B7A-72AB-A78B-A4D8-9844985B639D}"/>
                </a:ext>
              </a:extLst>
            </p:cNvPr>
            <p:cNvSpPr/>
            <p:nvPr/>
          </p:nvSpPr>
          <p:spPr>
            <a:xfrm>
              <a:off x="762144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B0C50B1-52FA-D33C-290E-06E695AADEAA}"/>
                </a:ext>
              </a:extLst>
            </p:cNvPr>
            <p:cNvSpPr/>
            <p:nvPr/>
          </p:nvSpPr>
          <p:spPr>
            <a:xfrm>
              <a:off x="751783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B55C81-3C42-13F6-39B8-A508C391EF5B}"/>
                </a:ext>
              </a:extLst>
            </p:cNvPr>
            <p:cNvSpPr/>
            <p:nvPr/>
          </p:nvSpPr>
          <p:spPr>
            <a:xfrm>
              <a:off x="741411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122907-A3A2-A25F-30B9-04B18EF6CF68}"/>
                </a:ext>
              </a:extLst>
            </p:cNvPr>
            <p:cNvSpPr/>
            <p:nvPr/>
          </p:nvSpPr>
          <p:spPr>
            <a:xfrm>
              <a:off x="7310512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43B0F8A-F64F-58FB-5699-91B8E661F884}"/>
                </a:ext>
              </a:extLst>
            </p:cNvPr>
            <p:cNvSpPr/>
            <p:nvPr/>
          </p:nvSpPr>
          <p:spPr>
            <a:xfrm>
              <a:off x="720690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1F7B28E-20EC-FEE2-0F42-93CB0ED2ED0F}"/>
                </a:ext>
              </a:extLst>
            </p:cNvPr>
            <p:cNvSpPr/>
            <p:nvPr/>
          </p:nvSpPr>
          <p:spPr>
            <a:xfrm>
              <a:off x="710329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D413813-BEFE-6496-7841-1CB755539E44}"/>
                </a:ext>
              </a:extLst>
            </p:cNvPr>
            <p:cNvSpPr/>
            <p:nvPr/>
          </p:nvSpPr>
          <p:spPr>
            <a:xfrm>
              <a:off x="699958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D4F9A3E-2C25-D38F-04C1-428BF2923B49}"/>
                </a:ext>
              </a:extLst>
            </p:cNvPr>
            <p:cNvSpPr/>
            <p:nvPr/>
          </p:nvSpPr>
          <p:spPr>
            <a:xfrm>
              <a:off x="689597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4D3F64A-30E6-1DC7-A7B4-E91667CFDA89}"/>
                </a:ext>
              </a:extLst>
            </p:cNvPr>
            <p:cNvSpPr/>
            <p:nvPr/>
          </p:nvSpPr>
          <p:spPr>
            <a:xfrm>
              <a:off x="679237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C67CAC4-5D9C-28DD-1E20-914CDFF6BA47}"/>
                </a:ext>
              </a:extLst>
            </p:cNvPr>
            <p:cNvSpPr/>
            <p:nvPr/>
          </p:nvSpPr>
          <p:spPr>
            <a:xfrm>
              <a:off x="668876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79C176-3183-398D-4A92-4719480F3D5E}"/>
                </a:ext>
              </a:extLst>
            </p:cNvPr>
            <p:cNvSpPr/>
            <p:nvPr/>
          </p:nvSpPr>
          <p:spPr>
            <a:xfrm>
              <a:off x="6585047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5F64BDD-ECA1-B4FD-431C-572272191E26}"/>
                </a:ext>
              </a:extLst>
            </p:cNvPr>
            <p:cNvSpPr/>
            <p:nvPr/>
          </p:nvSpPr>
          <p:spPr>
            <a:xfrm>
              <a:off x="648144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3016F74-6B55-66C3-D51B-26FA0862F8DC}"/>
                </a:ext>
              </a:extLst>
            </p:cNvPr>
            <p:cNvSpPr/>
            <p:nvPr/>
          </p:nvSpPr>
          <p:spPr>
            <a:xfrm>
              <a:off x="637783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A95ACD8-C38E-5ACE-1719-961D2C280765}"/>
                </a:ext>
              </a:extLst>
            </p:cNvPr>
            <p:cNvSpPr/>
            <p:nvPr/>
          </p:nvSpPr>
          <p:spPr>
            <a:xfrm>
              <a:off x="627422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16D3B01-E454-61D5-C9F3-3D442666D591}"/>
                </a:ext>
              </a:extLst>
            </p:cNvPr>
            <p:cNvSpPr/>
            <p:nvPr/>
          </p:nvSpPr>
          <p:spPr>
            <a:xfrm>
              <a:off x="617051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A1D2A6D-61C9-50D8-E553-FF4BD05BA72A}"/>
                </a:ext>
              </a:extLst>
            </p:cNvPr>
            <p:cNvSpPr/>
            <p:nvPr/>
          </p:nvSpPr>
          <p:spPr>
            <a:xfrm>
              <a:off x="606690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7800880-D49E-1692-462C-A7BD95CC8F78}"/>
                </a:ext>
              </a:extLst>
            </p:cNvPr>
            <p:cNvSpPr/>
            <p:nvPr/>
          </p:nvSpPr>
          <p:spPr>
            <a:xfrm>
              <a:off x="596329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009C8E8-927C-9719-E868-A9656D64D9F4}"/>
                </a:ext>
              </a:extLst>
            </p:cNvPr>
            <p:cNvSpPr/>
            <p:nvPr/>
          </p:nvSpPr>
          <p:spPr>
            <a:xfrm>
              <a:off x="585969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843681D-48F1-490D-DF56-0598E69BE863}"/>
                </a:ext>
              </a:extLst>
            </p:cNvPr>
            <p:cNvSpPr/>
            <p:nvPr/>
          </p:nvSpPr>
          <p:spPr>
            <a:xfrm>
              <a:off x="575597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012F0-7949-A216-392B-88D980227C4B}"/>
                </a:ext>
              </a:extLst>
            </p:cNvPr>
            <p:cNvSpPr/>
            <p:nvPr/>
          </p:nvSpPr>
          <p:spPr>
            <a:xfrm>
              <a:off x="565236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1F4E81A-6361-80D0-AF61-BC9F18012D47}"/>
                </a:ext>
              </a:extLst>
            </p:cNvPr>
            <p:cNvSpPr/>
            <p:nvPr/>
          </p:nvSpPr>
          <p:spPr>
            <a:xfrm>
              <a:off x="554876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8BC84C-F14B-5FE6-FE9D-12AF7F72AB4D}"/>
                </a:ext>
              </a:extLst>
            </p:cNvPr>
            <p:cNvSpPr/>
            <p:nvPr/>
          </p:nvSpPr>
          <p:spPr>
            <a:xfrm>
              <a:off x="544515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2E46845-6282-A4C8-EE98-47343D4C2A0C}"/>
                </a:ext>
              </a:extLst>
            </p:cNvPr>
            <p:cNvSpPr/>
            <p:nvPr/>
          </p:nvSpPr>
          <p:spPr>
            <a:xfrm>
              <a:off x="534144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0F79067-D17E-6DD6-233D-1D8821620BCB}"/>
                </a:ext>
              </a:extLst>
            </p:cNvPr>
            <p:cNvSpPr/>
            <p:nvPr/>
          </p:nvSpPr>
          <p:spPr>
            <a:xfrm>
              <a:off x="523783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1F6C81C-3629-538D-C948-21B3117A8035}"/>
                </a:ext>
              </a:extLst>
            </p:cNvPr>
            <p:cNvSpPr/>
            <p:nvPr/>
          </p:nvSpPr>
          <p:spPr>
            <a:xfrm>
              <a:off x="513422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DAD0B2-0E1F-D5C9-34C7-FE4AE742C5A1}"/>
                </a:ext>
              </a:extLst>
            </p:cNvPr>
            <p:cNvSpPr/>
            <p:nvPr/>
          </p:nvSpPr>
          <p:spPr>
            <a:xfrm>
              <a:off x="503061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D2A65B1-D125-9911-818E-C2CE14162A50}"/>
                </a:ext>
              </a:extLst>
            </p:cNvPr>
            <p:cNvSpPr/>
            <p:nvPr/>
          </p:nvSpPr>
          <p:spPr>
            <a:xfrm>
              <a:off x="492690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8BAEE3E-FA4E-3717-A546-65BA172F469A}"/>
                </a:ext>
              </a:extLst>
            </p:cNvPr>
            <p:cNvSpPr/>
            <p:nvPr/>
          </p:nvSpPr>
          <p:spPr>
            <a:xfrm>
              <a:off x="482329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7E30EB5-11CE-3778-7557-4FF96E5C02E4}"/>
                </a:ext>
              </a:extLst>
            </p:cNvPr>
            <p:cNvSpPr/>
            <p:nvPr/>
          </p:nvSpPr>
          <p:spPr>
            <a:xfrm>
              <a:off x="471969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FC0F02B-98E2-3A32-341B-625BC8FD595F}"/>
                </a:ext>
              </a:extLst>
            </p:cNvPr>
            <p:cNvSpPr/>
            <p:nvPr/>
          </p:nvSpPr>
          <p:spPr>
            <a:xfrm>
              <a:off x="461608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CF9280-71E8-7703-08BC-DC58FAD17754}"/>
                </a:ext>
              </a:extLst>
            </p:cNvPr>
            <p:cNvSpPr/>
            <p:nvPr/>
          </p:nvSpPr>
          <p:spPr>
            <a:xfrm>
              <a:off x="451236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841AD5E-663A-1A7A-E427-8333068FAEF0}"/>
                </a:ext>
              </a:extLst>
            </p:cNvPr>
            <p:cNvSpPr/>
            <p:nvPr/>
          </p:nvSpPr>
          <p:spPr>
            <a:xfrm>
              <a:off x="440876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32806A7-2371-4F98-FCA9-2E5E8BF9D8AD}"/>
                </a:ext>
              </a:extLst>
            </p:cNvPr>
            <p:cNvSpPr/>
            <p:nvPr/>
          </p:nvSpPr>
          <p:spPr>
            <a:xfrm>
              <a:off x="430515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E30914-7D2A-6DB1-9ECE-2257D98D0CF9}"/>
                </a:ext>
              </a:extLst>
            </p:cNvPr>
            <p:cNvSpPr/>
            <p:nvPr/>
          </p:nvSpPr>
          <p:spPr>
            <a:xfrm>
              <a:off x="420143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CCE284D-2F0C-01E1-3093-35580BC5BE07}"/>
                </a:ext>
              </a:extLst>
            </p:cNvPr>
            <p:cNvSpPr/>
            <p:nvPr/>
          </p:nvSpPr>
          <p:spPr>
            <a:xfrm>
              <a:off x="409783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9384CDB-C441-9F50-008D-144C0BA03DA0}"/>
                </a:ext>
              </a:extLst>
            </p:cNvPr>
            <p:cNvSpPr/>
            <p:nvPr/>
          </p:nvSpPr>
          <p:spPr>
            <a:xfrm>
              <a:off x="399422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DD84AAA-2F69-C6E9-8BD5-7FF16BA10914}"/>
                </a:ext>
              </a:extLst>
            </p:cNvPr>
            <p:cNvSpPr/>
            <p:nvPr/>
          </p:nvSpPr>
          <p:spPr>
            <a:xfrm>
              <a:off x="389061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19A224C-EF6B-B813-9E16-FEE88FC5CFC1}"/>
                </a:ext>
              </a:extLst>
            </p:cNvPr>
            <p:cNvSpPr/>
            <p:nvPr/>
          </p:nvSpPr>
          <p:spPr>
            <a:xfrm>
              <a:off x="378690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5B79D61-714F-18BC-A373-A6DAA9EDA28C}"/>
                </a:ext>
              </a:extLst>
            </p:cNvPr>
            <p:cNvSpPr/>
            <p:nvPr/>
          </p:nvSpPr>
          <p:spPr>
            <a:xfrm>
              <a:off x="368329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2C8C136-D6BF-6DA5-54B9-7F3C4F1F6B6E}"/>
                </a:ext>
              </a:extLst>
            </p:cNvPr>
            <p:cNvSpPr/>
            <p:nvPr/>
          </p:nvSpPr>
          <p:spPr>
            <a:xfrm>
              <a:off x="357968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019CE-6D6B-C2E6-29C9-F4047C1AE18F}"/>
                </a:ext>
              </a:extLst>
            </p:cNvPr>
            <p:cNvSpPr/>
            <p:nvPr/>
          </p:nvSpPr>
          <p:spPr>
            <a:xfrm>
              <a:off x="347608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F028775-15E8-6D99-8674-E25DD6B5FC18}"/>
                </a:ext>
              </a:extLst>
            </p:cNvPr>
            <p:cNvSpPr/>
            <p:nvPr/>
          </p:nvSpPr>
          <p:spPr>
            <a:xfrm>
              <a:off x="3372367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E262D69-C35F-386E-FBF8-880463806AED}"/>
                </a:ext>
              </a:extLst>
            </p:cNvPr>
            <p:cNvSpPr/>
            <p:nvPr/>
          </p:nvSpPr>
          <p:spPr>
            <a:xfrm>
              <a:off x="326876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A276C62-7687-1F24-A820-FFC74714BB8A}"/>
                </a:ext>
              </a:extLst>
            </p:cNvPr>
            <p:cNvSpPr/>
            <p:nvPr/>
          </p:nvSpPr>
          <p:spPr>
            <a:xfrm>
              <a:off x="3165153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323C836-7F2B-E70E-9C2B-2F92234FE2AD}"/>
                </a:ext>
              </a:extLst>
            </p:cNvPr>
            <p:cNvSpPr/>
            <p:nvPr/>
          </p:nvSpPr>
          <p:spPr>
            <a:xfrm>
              <a:off x="306154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F2930A8-0C46-DB3A-B02C-BFE8B3D8B385}"/>
                </a:ext>
              </a:extLst>
            </p:cNvPr>
            <p:cNvSpPr/>
            <p:nvPr/>
          </p:nvSpPr>
          <p:spPr>
            <a:xfrm>
              <a:off x="295783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203F0D1-4862-F365-27E3-1C50898548E9}"/>
                </a:ext>
              </a:extLst>
            </p:cNvPr>
            <p:cNvSpPr/>
            <p:nvPr/>
          </p:nvSpPr>
          <p:spPr>
            <a:xfrm>
              <a:off x="285422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F20BEB-3E0E-FD3F-27EA-7A958A680DA1}"/>
                </a:ext>
              </a:extLst>
            </p:cNvPr>
            <p:cNvSpPr/>
            <p:nvPr/>
          </p:nvSpPr>
          <p:spPr>
            <a:xfrm>
              <a:off x="275061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21CF78B-EAB9-079E-6841-34D8C93CE748}"/>
                </a:ext>
              </a:extLst>
            </p:cNvPr>
            <p:cNvSpPr/>
            <p:nvPr/>
          </p:nvSpPr>
          <p:spPr>
            <a:xfrm>
              <a:off x="264701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4AD0687-0561-0DD6-6BA4-EBEB3208DCBF}"/>
                </a:ext>
              </a:extLst>
            </p:cNvPr>
            <p:cNvSpPr/>
            <p:nvPr/>
          </p:nvSpPr>
          <p:spPr>
            <a:xfrm>
              <a:off x="254329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1A827EF-A181-76D1-787A-AFFC8B6E0A70}"/>
                </a:ext>
              </a:extLst>
            </p:cNvPr>
            <p:cNvSpPr/>
            <p:nvPr/>
          </p:nvSpPr>
          <p:spPr>
            <a:xfrm>
              <a:off x="243968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1DE06EF-828C-F18D-9183-C72F3B4E4C37}"/>
                </a:ext>
              </a:extLst>
            </p:cNvPr>
            <p:cNvSpPr/>
            <p:nvPr/>
          </p:nvSpPr>
          <p:spPr>
            <a:xfrm>
              <a:off x="233608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F23C12F-A7C5-BF99-7BBB-4BA1EB5D186B}"/>
                </a:ext>
              </a:extLst>
            </p:cNvPr>
            <p:cNvSpPr/>
            <p:nvPr/>
          </p:nvSpPr>
          <p:spPr>
            <a:xfrm>
              <a:off x="223247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10ADFE9-AEE5-57FE-8B5D-CCB2C7A6A5B4}"/>
                </a:ext>
              </a:extLst>
            </p:cNvPr>
            <p:cNvSpPr/>
            <p:nvPr/>
          </p:nvSpPr>
          <p:spPr>
            <a:xfrm>
              <a:off x="212875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5CC778A-AF59-8B8C-47B8-B78F1A51F6E6}"/>
                </a:ext>
              </a:extLst>
            </p:cNvPr>
            <p:cNvSpPr/>
            <p:nvPr/>
          </p:nvSpPr>
          <p:spPr>
            <a:xfrm>
              <a:off x="202515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36877A4-4FD4-2648-8DA4-FECAD014E0DE}"/>
                </a:ext>
              </a:extLst>
            </p:cNvPr>
            <p:cNvSpPr/>
            <p:nvPr/>
          </p:nvSpPr>
          <p:spPr>
            <a:xfrm>
              <a:off x="192154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0F1EE9F-69CD-28E4-E751-1E456B9B6439}"/>
                </a:ext>
              </a:extLst>
            </p:cNvPr>
            <p:cNvSpPr/>
            <p:nvPr/>
          </p:nvSpPr>
          <p:spPr>
            <a:xfrm>
              <a:off x="181793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266A494-5DD0-EE03-2C32-81490555BE0E}"/>
                </a:ext>
              </a:extLst>
            </p:cNvPr>
            <p:cNvSpPr/>
            <p:nvPr/>
          </p:nvSpPr>
          <p:spPr>
            <a:xfrm>
              <a:off x="171422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5EBBE38-4888-9224-786B-ECB43D78FF77}"/>
                </a:ext>
              </a:extLst>
            </p:cNvPr>
            <p:cNvSpPr/>
            <p:nvPr/>
          </p:nvSpPr>
          <p:spPr>
            <a:xfrm>
              <a:off x="161061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F5475EC-B59B-3BF9-F8C1-D558C30371C2}"/>
                </a:ext>
              </a:extLst>
            </p:cNvPr>
            <p:cNvSpPr/>
            <p:nvPr/>
          </p:nvSpPr>
          <p:spPr>
            <a:xfrm>
              <a:off x="150700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4EEB12E-E848-DAE7-23E6-D53C047C5007}"/>
                </a:ext>
              </a:extLst>
            </p:cNvPr>
            <p:cNvSpPr/>
            <p:nvPr/>
          </p:nvSpPr>
          <p:spPr>
            <a:xfrm>
              <a:off x="140329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1E30E72-5400-19D8-C4D7-D77767F94FA3}"/>
                </a:ext>
              </a:extLst>
            </p:cNvPr>
            <p:cNvSpPr/>
            <p:nvPr/>
          </p:nvSpPr>
          <p:spPr>
            <a:xfrm>
              <a:off x="129968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57F6EE-0B69-B61C-67ED-4CFBCD8711FC}"/>
                </a:ext>
              </a:extLst>
            </p:cNvPr>
            <p:cNvSpPr/>
            <p:nvPr/>
          </p:nvSpPr>
          <p:spPr>
            <a:xfrm>
              <a:off x="119608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56E9C0C-4A18-2EC4-1D28-0116DE722AD5}"/>
                </a:ext>
              </a:extLst>
            </p:cNvPr>
            <p:cNvSpPr/>
            <p:nvPr/>
          </p:nvSpPr>
          <p:spPr>
            <a:xfrm>
              <a:off x="109247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726E2865-C21A-B511-F1EF-BC831257B526}"/>
                </a:ext>
              </a:extLst>
            </p:cNvPr>
            <p:cNvSpPr/>
            <p:nvPr/>
          </p:nvSpPr>
          <p:spPr>
            <a:xfrm>
              <a:off x="98875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4F6991C-C494-048C-0338-369D405C91E6}"/>
                </a:ext>
              </a:extLst>
            </p:cNvPr>
            <p:cNvSpPr/>
            <p:nvPr/>
          </p:nvSpPr>
          <p:spPr>
            <a:xfrm>
              <a:off x="8851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C32C56D-6080-41D9-E603-EF9DAC60CC36}"/>
                </a:ext>
              </a:extLst>
            </p:cNvPr>
            <p:cNvSpPr/>
            <p:nvPr/>
          </p:nvSpPr>
          <p:spPr>
            <a:xfrm>
              <a:off x="7815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</p:grp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99F3D20A-B8BE-210A-A077-9BE395152AD7}"/>
              </a:ext>
            </a:extLst>
          </p:cNvPr>
          <p:cNvSpPr/>
          <p:nvPr/>
        </p:nvSpPr>
        <p:spPr>
          <a:xfrm>
            <a:off x="557173" y="-6072638"/>
            <a:ext cx="10228445" cy="17880692"/>
          </a:xfrm>
          <a:custGeom>
            <a:avLst/>
            <a:gdLst>
              <a:gd name="connsiteX0" fmla="*/ 5968112 w 5968112"/>
              <a:gd name="connsiteY0" fmla="*/ 0 h 10433059"/>
              <a:gd name="connsiteX1" fmla="*/ 0 w 5968112"/>
              <a:gd name="connsiteY1" fmla="*/ 7113588 h 10433059"/>
              <a:gd name="connsiteX2" fmla="*/ 0 w 5968112"/>
              <a:gd name="connsiteY2" fmla="*/ 10433059 h 10433059"/>
              <a:gd name="connsiteX3" fmla="*/ 5968004 w 5968112"/>
              <a:gd name="connsiteY3" fmla="*/ 3318280 h 1043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8112" h="10433059">
                <a:moveTo>
                  <a:pt x="5968112" y="0"/>
                </a:moveTo>
                <a:lnTo>
                  <a:pt x="0" y="7113588"/>
                </a:lnTo>
                <a:lnTo>
                  <a:pt x="0" y="10433059"/>
                </a:lnTo>
                <a:lnTo>
                  <a:pt x="5968004" y="3318280"/>
                </a:lnTo>
                <a:close/>
              </a:path>
            </a:pathLst>
          </a:custGeom>
          <a:solidFill>
            <a:srgbClr val="63519C"/>
          </a:solidFill>
          <a:ln w="1083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8EA8328E-7761-F50A-AF68-8C32E0F1A9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</a:t>
            </a:r>
            <a:r>
              <a:rPr lang="en-US" dirty="0" err="1"/>
              <a:t>consequat</a:t>
            </a:r>
            <a:r>
              <a:rPr lang="en-US" dirty="0"/>
              <a:t> vita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E29289-271F-40AF-A954-F97141F61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208DF-C766-4940-98E4-64F245FF5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DD300B92-9AFA-8539-304C-1D110537C556}"/>
              </a:ext>
            </a:extLst>
          </p:cNvPr>
          <p:cNvSpPr/>
          <p:nvPr/>
        </p:nvSpPr>
        <p:spPr>
          <a:xfrm>
            <a:off x="5376788" y="1953394"/>
            <a:ext cx="2952328" cy="4394198"/>
          </a:xfrm>
          <a:custGeom>
            <a:avLst/>
            <a:gdLst>
              <a:gd name="connsiteX0" fmla="*/ 5256530 w 5256530"/>
              <a:gd name="connsiteY0" fmla="*/ 0 h 7823736"/>
              <a:gd name="connsiteX1" fmla="*/ 5256468 w 5256530"/>
              <a:gd name="connsiteY1" fmla="*/ 1557179 h 7823736"/>
              <a:gd name="connsiteX2" fmla="*/ 0 w 5256530"/>
              <a:gd name="connsiteY2" fmla="*/ 7823736 h 7823736"/>
              <a:gd name="connsiteX3" fmla="*/ 0 w 5256530"/>
              <a:gd name="connsiteY3" fmla="*/ 6266631 h 782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6530" h="7823736">
                <a:moveTo>
                  <a:pt x="5256530" y="0"/>
                </a:moveTo>
                <a:lnTo>
                  <a:pt x="5256468" y="1557179"/>
                </a:lnTo>
                <a:lnTo>
                  <a:pt x="0" y="7823736"/>
                </a:lnTo>
                <a:lnTo>
                  <a:pt x="0" y="6266631"/>
                </a:lnTo>
                <a:close/>
              </a:path>
            </a:pathLst>
          </a:custGeom>
          <a:solidFill>
            <a:srgbClr val="231F20"/>
          </a:solidFill>
          <a:ln w="108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149" name="Textfeld 7">
            <a:extLst>
              <a:ext uri="{FF2B5EF4-FFF2-40B4-BE49-F238E27FC236}">
                <a16:creationId xmlns:a16="http://schemas.microsoft.com/office/drawing/2014/main" id="{873D0629-A726-F8AA-4CA7-F584373E5F19}"/>
              </a:ext>
            </a:extLst>
          </p:cNvPr>
          <p:cNvSpPr txBox="1"/>
          <p:nvPr/>
        </p:nvSpPr>
        <p:spPr bwMode="gray">
          <a:xfrm>
            <a:off x="616804" y="2525941"/>
            <a:ext cx="2302948" cy="57606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lvl="1" defTabSz="685766">
              <a:spcAft>
                <a:spcPts val="60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feugiat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a, </a:t>
            </a:r>
            <a:r>
              <a:rPr lang="en-US" sz="1100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tellus</a:t>
            </a:r>
            <a:endParaRPr lang="en-US" sz="1100" kern="1200" dirty="0">
              <a:solidFill>
                <a:srgbClr val="000000"/>
              </a:solidFill>
              <a:cs typeface="DWS Sans Light" panose="02010404010101010104" pitchFamily="50" charset="0"/>
            </a:endParaRPr>
          </a:p>
        </p:txBody>
      </p:sp>
      <p:sp>
        <p:nvSpPr>
          <p:cNvPr id="150" name="Textfeld 14">
            <a:extLst>
              <a:ext uri="{FF2B5EF4-FFF2-40B4-BE49-F238E27FC236}">
                <a16:creationId xmlns:a16="http://schemas.microsoft.com/office/drawing/2014/main" id="{3F7445B2-E63A-E5D1-9D74-CB00D4340947}"/>
              </a:ext>
            </a:extLst>
          </p:cNvPr>
          <p:cNvSpPr txBox="1"/>
          <p:nvPr/>
        </p:nvSpPr>
        <p:spPr>
          <a:xfrm>
            <a:off x="616804" y="1977693"/>
            <a:ext cx="251550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68576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cap="none" baseline="0">
                <a:solidFill>
                  <a:srgbClr val="000000"/>
                </a:solidFill>
                <a:latin typeface="+mj-lt"/>
                <a:cs typeface="DWS Sans" panose="02010504010101010104" pitchFamily="50" charset="0"/>
              </a:defRPr>
            </a:lvl1pPr>
            <a:lvl2pPr marL="0" marR="0" indent="0" defTabSz="685766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rgbClr val="000000"/>
                </a:solidFill>
                <a:cs typeface="DWS Sans Light" panose="02010404010101010104" pitchFamily="50" charset="0"/>
              </a:defRPr>
            </a:lvl2pPr>
            <a:lvl3pPr marL="13716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3pPr>
            <a:lvl4pPr marL="27432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4pPr>
            <a:lvl5pPr marL="41148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5pPr>
            <a:lvl6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6pPr>
            <a:lvl7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7pPr>
            <a:lvl8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8pPr>
            <a:lvl9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9pPr>
          </a:lstStyle>
          <a:p>
            <a:r>
              <a:rPr lang="en-US" sz="3200" dirty="0">
                <a:solidFill>
                  <a:srgbClr val="755BBA"/>
                </a:solidFill>
              </a:rPr>
              <a:t>Status quo</a:t>
            </a:r>
            <a:endParaRPr lang="de-DE" sz="3200" dirty="0">
              <a:solidFill>
                <a:srgbClr val="755BBA"/>
              </a:solidFill>
            </a:endParaRPr>
          </a:p>
        </p:txBody>
      </p:sp>
      <p:sp>
        <p:nvSpPr>
          <p:cNvPr id="280" name="Text Placeholder 9">
            <a:extLst>
              <a:ext uri="{FF2B5EF4-FFF2-40B4-BE49-F238E27FC236}">
                <a16:creationId xmlns:a16="http://schemas.microsoft.com/office/drawing/2014/main" id="{1471AAB2-C3DB-E0E9-E3EF-6765896BD468}"/>
              </a:ext>
            </a:extLst>
          </p:cNvPr>
          <p:cNvSpPr txBox="1">
            <a:spLocks/>
          </p:cNvSpPr>
          <p:nvPr/>
        </p:nvSpPr>
        <p:spPr bwMode="gray">
          <a:xfrm>
            <a:off x="4959856" y="1109494"/>
            <a:ext cx="324721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</a:rPr>
              <a:t>Etiam ultricies nisi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81" name="Text Placeholder 10">
            <a:extLst>
              <a:ext uri="{FF2B5EF4-FFF2-40B4-BE49-F238E27FC236}">
                <a16:creationId xmlns:a16="http://schemas.microsoft.com/office/drawing/2014/main" id="{306E0382-ABB5-0FB9-E3AE-3D595E426E5B}"/>
              </a:ext>
            </a:extLst>
          </p:cNvPr>
          <p:cNvSpPr txBox="1">
            <a:spLocks/>
          </p:cNvSpPr>
          <p:nvPr/>
        </p:nvSpPr>
        <p:spPr bwMode="gray">
          <a:xfrm>
            <a:off x="4959856" y="1538387"/>
            <a:ext cx="30937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0" dirty="0" err="1">
                <a:solidFill>
                  <a:schemeClr val="bg1"/>
                </a:solidFill>
              </a:rPr>
              <a:t>ullamcorper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  <a:r>
              <a:rPr lang="en-US" sz="1000" b="0" dirty="0" err="1">
                <a:solidFill>
                  <a:schemeClr val="bg1"/>
                </a:solidFill>
              </a:rPr>
              <a:t>ultricies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AE4CF0-B5D4-69C2-8B84-D44F0524A7CA}"/>
              </a:ext>
            </a:extLst>
          </p:cNvPr>
          <p:cNvGrpSpPr/>
          <p:nvPr/>
        </p:nvGrpSpPr>
        <p:grpSpPr>
          <a:xfrm>
            <a:off x="3809870" y="2115190"/>
            <a:ext cx="4140460" cy="2394426"/>
            <a:chOff x="10613155" y="5130389"/>
            <a:chExt cx="4140460" cy="239442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1555189-DC40-D2AB-9F2E-5B8ACF577A90}"/>
                </a:ext>
              </a:extLst>
            </p:cNvPr>
            <p:cNvSpPr/>
            <p:nvPr/>
          </p:nvSpPr>
          <p:spPr>
            <a:xfrm>
              <a:off x="11065420" y="5207000"/>
              <a:ext cx="3255818" cy="20920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pic>
          <p:nvPicPr>
            <p:cNvPr id="58" name="Grafik 12">
              <a:extLst>
                <a:ext uri="{FF2B5EF4-FFF2-40B4-BE49-F238E27FC236}">
                  <a16:creationId xmlns:a16="http://schemas.microsoft.com/office/drawing/2014/main" id="{03121711-E22D-14E9-0D9C-0CE9D7E1D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3155" y="5130389"/>
              <a:ext cx="4140460" cy="2394426"/>
            </a:xfrm>
            <a:prstGeom prst="rect">
              <a:avLst/>
            </a:prstGeom>
            <a:effectLst>
              <a:reflection blurRad="6350" stA="50000" endPos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7995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2222E-6 0.01667 L 2.22222E-6 -2.3456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77778E-6 -0.01574 L -2.77778E-6 -3.58025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8333 -2.54939 L 1.11111E-6 2.59259E-6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167" y="12746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41875 0.96728 L 8.33333E-7 -1.23457E-7 " pathEditMode="relative" rAng="0" ptsTypes="AA">
                                      <p:cBhvr>
                                        <p:cTn id="22" dur="12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37" y="-4836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1667 L 4.72222E-6 -3.20988E-6 " pathEditMode="relative" rAng="0" ptsTypes="AA">
                                      <p:cBhvr>
                                        <p:cTn id="31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1574 L 0 -7.40741E-7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1" grpId="1" animBg="1"/>
      <p:bldP spid="155" grpId="0" animBg="1"/>
      <p:bldP spid="155" grpId="1" animBg="1"/>
      <p:bldP spid="149" grpId="0"/>
      <p:bldP spid="149" grpId="1"/>
      <p:bldP spid="150" grpId="0"/>
      <p:bldP spid="150" grpId="1"/>
      <p:bldP spid="280" grpId="0"/>
      <p:bldP spid="280" grpId="1"/>
      <p:bldP spid="281" grpId="0"/>
      <p:bldP spid="28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6024DB2-1D21-4DA5-BDB6-00EED3B1DA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F88D69-6578-4327-92B4-9E70E284DA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B508EA8B-221B-4990-907D-95C8D0D824C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/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BF5CE26D-16CF-4B10-9E0E-1CDAD244E63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/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15B5E813-F7A9-468F-A58A-9A7B26B66EF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 bwMode="gray"/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9BF2EAE5-C4AD-4B05-B3B7-AF040266E2B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 bwMode="gray">
          <a:xfrm>
            <a:off x="5899093" y="3182980"/>
            <a:ext cx="185051" cy="184666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D491A12B-56A8-4BE8-B6DF-F9C143624BE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 bwMode="gray"/>
        <p:txBody>
          <a:bodyPr/>
          <a:lstStyle/>
          <a:p>
            <a:r>
              <a:rPr lang="en-US" dirty="0"/>
              <a:t>05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D24ACE0-28AB-4A5C-997E-D6840D877E8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 bwMode="gray"/>
        <p:txBody>
          <a:bodyPr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3DFA6D1E-C36C-4B23-80AF-4B4E9CB13D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594C71CE-AEEB-4614-85F5-7703E3FA3EF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6BAEC5D-A8D4-4C2F-B31F-E577867AE21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C68C42B-A2FC-4880-9575-2A535C6F65A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49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F9D8F18-4DFB-DF04-190F-7797BAB97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3647220"/>
            <a:ext cx="3918829" cy="718145"/>
          </a:xfrm>
        </p:spPr>
        <p:txBody>
          <a:bodyPr vert="horz"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4482EC07-26D3-E890-D24C-DC72E909FF46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6497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EEDD0CDD-8172-9D99-F50D-EA392D0C6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54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E6806C43-19AA-9B94-5BBE-4DADE05545C7}"/>
              </a:ext>
            </a:extLst>
          </p:cNvPr>
          <p:cNvSpPr/>
          <p:nvPr/>
        </p:nvSpPr>
        <p:spPr>
          <a:xfrm rot="10800000">
            <a:off x="-1154224" y="2479646"/>
            <a:ext cx="2232248" cy="2663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0" i="0" dirty="0">
              <a:latin typeface="DWS Sans Light" panose="020B0404020101010102" pitchFamily="34" charset="77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CD9C74F-BF87-FFCB-3487-A80C629A1F95}"/>
              </a:ext>
            </a:extLst>
          </p:cNvPr>
          <p:cNvGrpSpPr/>
          <p:nvPr/>
        </p:nvGrpSpPr>
        <p:grpSpPr>
          <a:xfrm>
            <a:off x="-1404664" y="3579862"/>
            <a:ext cx="3090155" cy="2074965"/>
            <a:chOff x="0" y="2425700"/>
            <a:chExt cx="4047502" cy="2717800"/>
          </a:xfrm>
        </p:grpSpPr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01356D92-663F-5E59-2D91-CC00240AD79F}"/>
                </a:ext>
              </a:extLst>
            </p:cNvPr>
            <p:cNvSpPr/>
            <p:nvPr/>
          </p:nvSpPr>
          <p:spPr>
            <a:xfrm>
              <a:off x="0" y="2425700"/>
              <a:ext cx="440690" cy="521970"/>
            </a:xfrm>
            <a:custGeom>
              <a:avLst/>
              <a:gdLst/>
              <a:ahLst/>
              <a:cxnLst/>
              <a:rect l="l" t="t" r="r" b="b"/>
              <a:pathLst>
                <a:path w="440690" h="521969">
                  <a:moveTo>
                    <a:pt x="440266" y="0"/>
                  </a:moveTo>
                  <a:lnTo>
                    <a:pt x="0" y="521497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2" name="object 3">
              <a:extLst>
                <a:ext uri="{FF2B5EF4-FFF2-40B4-BE49-F238E27FC236}">
                  <a16:creationId xmlns:a16="http://schemas.microsoft.com/office/drawing/2014/main" id="{854A9077-26E8-2F1F-7B80-C65BA76DB251}"/>
                </a:ext>
              </a:extLst>
            </p:cNvPr>
            <p:cNvSpPr/>
            <p:nvPr/>
          </p:nvSpPr>
          <p:spPr>
            <a:xfrm>
              <a:off x="0" y="2425700"/>
              <a:ext cx="847090" cy="1003300"/>
            </a:xfrm>
            <a:custGeom>
              <a:avLst/>
              <a:gdLst/>
              <a:ahLst/>
              <a:cxnLst/>
              <a:rect l="l" t="t" r="r" b="b"/>
              <a:pathLst>
                <a:path w="847090" h="1003300">
                  <a:moveTo>
                    <a:pt x="846666" y="0"/>
                  </a:moveTo>
                  <a:lnTo>
                    <a:pt x="0" y="1002878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3" name="object 4">
              <a:extLst>
                <a:ext uri="{FF2B5EF4-FFF2-40B4-BE49-F238E27FC236}">
                  <a16:creationId xmlns:a16="http://schemas.microsoft.com/office/drawing/2014/main" id="{64C11264-6712-F015-442D-C107024A5771}"/>
                </a:ext>
              </a:extLst>
            </p:cNvPr>
            <p:cNvSpPr/>
            <p:nvPr/>
          </p:nvSpPr>
          <p:spPr>
            <a:xfrm>
              <a:off x="0" y="2425700"/>
              <a:ext cx="1244600" cy="1474470"/>
            </a:xfrm>
            <a:custGeom>
              <a:avLst/>
              <a:gdLst/>
              <a:ahLst/>
              <a:cxnLst/>
              <a:rect l="l" t="t" r="r" b="b"/>
              <a:pathLst>
                <a:path w="1244600" h="1474470">
                  <a:moveTo>
                    <a:pt x="1244601" y="0"/>
                  </a:moveTo>
                  <a:lnTo>
                    <a:pt x="0" y="1474233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5" name="object 5">
              <a:extLst>
                <a:ext uri="{FF2B5EF4-FFF2-40B4-BE49-F238E27FC236}">
                  <a16:creationId xmlns:a16="http://schemas.microsoft.com/office/drawing/2014/main" id="{DEF814A3-B4BB-E0F3-28F8-91F27527BA2A}"/>
                </a:ext>
              </a:extLst>
            </p:cNvPr>
            <p:cNvSpPr/>
            <p:nvPr/>
          </p:nvSpPr>
          <p:spPr>
            <a:xfrm>
              <a:off x="0" y="2425700"/>
              <a:ext cx="1651000" cy="1955800"/>
            </a:xfrm>
            <a:custGeom>
              <a:avLst/>
              <a:gdLst/>
              <a:ahLst/>
              <a:cxnLst/>
              <a:rect l="l" t="t" r="r" b="b"/>
              <a:pathLst>
                <a:path w="1651000" h="1955800">
                  <a:moveTo>
                    <a:pt x="1651001" y="0"/>
                  </a:moveTo>
                  <a:lnTo>
                    <a:pt x="0" y="1955614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3D833A10-42E0-D5E1-EC99-191819538F1C}"/>
                </a:ext>
              </a:extLst>
            </p:cNvPr>
            <p:cNvSpPr/>
            <p:nvPr/>
          </p:nvSpPr>
          <p:spPr>
            <a:xfrm>
              <a:off x="0" y="2425700"/>
              <a:ext cx="2040889" cy="2417445"/>
            </a:xfrm>
            <a:custGeom>
              <a:avLst/>
              <a:gdLst/>
              <a:ahLst/>
              <a:cxnLst/>
              <a:rect l="l" t="t" r="r" b="b"/>
              <a:pathLst>
                <a:path w="2040889" h="2417445">
                  <a:moveTo>
                    <a:pt x="2040474" y="0"/>
                  </a:moveTo>
                  <a:lnTo>
                    <a:pt x="0" y="2416946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7" name="object 7">
              <a:extLst>
                <a:ext uri="{FF2B5EF4-FFF2-40B4-BE49-F238E27FC236}">
                  <a16:creationId xmlns:a16="http://schemas.microsoft.com/office/drawing/2014/main" id="{37477B3A-E6D7-3BE3-1046-093A4EEC30D2}"/>
                </a:ext>
              </a:extLst>
            </p:cNvPr>
            <p:cNvSpPr/>
            <p:nvPr/>
          </p:nvSpPr>
          <p:spPr>
            <a:xfrm>
              <a:off x="143945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8" name="object 8">
              <a:extLst>
                <a:ext uri="{FF2B5EF4-FFF2-40B4-BE49-F238E27FC236}">
                  <a16:creationId xmlns:a16="http://schemas.microsoft.com/office/drawing/2014/main" id="{35DCEC9B-110A-8CAE-A979-D18B6D6C8691}"/>
                </a:ext>
              </a:extLst>
            </p:cNvPr>
            <p:cNvSpPr/>
            <p:nvPr/>
          </p:nvSpPr>
          <p:spPr>
            <a:xfrm>
              <a:off x="541878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9" name="object 9">
              <a:extLst>
                <a:ext uri="{FF2B5EF4-FFF2-40B4-BE49-F238E27FC236}">
                  <a16:creationId xmlns:a16="http://schemas.microsoft.com/office/drawing/2014/main" id="{5F77EE1F-4282-FE88-D036-55BF212B8E04}"/>
                </a:ext>
              </a:extLst>
            </p:cNvPr>
            <p:cNvSpPr/>
            <p:nvPr/>
          </p:nvSpPr>
          <p:spPr>
            <a:xfrm>
              <a:off x="956740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0" name="object 10">
              <a:extLst>
                <a:ext uri="{FF2B5EF4-FFF2-40B4-BE49-F238E27FC236}">
                  <a16:creationId xmlns:a16="http://schemas.microsoft.com/office/drawing/2014/main" id="{9A342C1D-669F-80BD-36B8-13C26B3B06A4}"/>
                </a:ext>
              </a:extLst>
            </p:cNvPr>
            <p:cNvSpPr/>
            <p:nvPr/>
          </p:nvSpPr>
          <p:spPr>
            <a:xfrm>
              <a:off x="13462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1" name="object 11">
              <a:extLst>
                <a:ext uri="{FF2B5EF4-FFF2-40B4-BE49-F238E27FC236}">
                  <a16:creationId xmlns:a16="http://schemas.microsoft.com/office/drawing/2014/main" id="{65CD4EB7-861E-98A1-C300-A24633A6688A}"/>
                </a:ext>
              </a:extLst>
            </p:cNvPr>
            <p:cNvSpPr/>
            <p:nvPr/>
          </p:nvSpPr>
          <p:spPr>
            <a:xfrm>
              <a:off x="17526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</p:grpSp>
      <p:pic>
        <p:nvPicPr>
          <p:cNvPr id="34" name="Grafik 2">
            <a:extLst>
              <a:ext uri="{FF2B5EF4-FFF2-40B4-BE49-F238E27FC236}">
                <a16:creationId xmlns:a16="http://schemas.microsoft.com/office/drawing/2014/main" id="{5DB15D18-883F-61B8-420D-FC5D33E36DE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6600" y="-1892746"/>
            <a:ext cx="10430420" cy="768195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BF4957E-6AAA-176D-188A-A7F28FE67351}"/>
              </a:ext>
            </a:extLst>
          </p:cNvPr>
          <p:cNvSpPr/>
          <p:nvPr/>
        </p:nvSpPr>
        <p:spPr>
          <a:xfrm>
            <a:off x="2843808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D8E13B-E96F-0A1C-4AB6-9A1AEAA534EC}"/>
              </a:ext>
            </a:extLst>
          </p:cNvPr>
          <p:cNvSpPr/>
          <p:nvPr/>
        </p:nvSpPr>
        <p:spPr>
          <a:xfrm>
            <a:off x="4440656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3416639-9210-C3ED-5400-A217C681E1D7}"/>
              </a:ext>
            </a:extLst>
          </p:cNvPr>
          <p:cNvSpPr/>
          <p:nvPr/>
        </p:nvSpPr>
        <p:spPr>
          <a:xfrm>
            <a:off x="2847975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0856B85-9234-84BF-5566-90CA23384C1F}"/>
              </a:ext>
            </a:extLst>
          </p:cNvPr>
          <p:cNvSpPr/>
          <p:nvPr/>
        </p:nvSpPr>
        <p:spPr>
          <a:xfrm>
            <a:off x="3102414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1D8AEC6-48BA-BDA1-066F-B1C1A1DA90FF}"/>
              </a:ext>
            </a:extLst>
          </p:cNvPr>
          <p:cNvSpPr/>
          <p:nvPr/>
        </p:nvSpPr>
        <p:spPr>
          <a:xfrm>
            <a:off x="4446691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E417273-50B0-39BD-7D9C-77E85880CAEC}"/>
              </a:ext>
            </a:extLst>
          </p:cNvPr>
          <p:cNvSpPr/>
          <p:nvPr/>
        </p:nvSpPr>
        <p:spPr>
          <a:xfrm>
            <a:off x="4701130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2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55E1720-6B33-20A1-1DBF-C48106BEDC41}"/>
              </a:ext>
            </a:extLst>
          </p:cNvPr>
          <p:cNvSpPr/>
          <p:nvPr/>
        </p:nvSpPr>
        <p:spPr>
          <a:xfrm>
            <a:off x="3625647" y="1504330"/>
            <a:ext cx="1880654" cy="283427"/>
          </a:xfrm>
          <a:custGeom>
            <a:avLst/>
            <a:gdLst/>
            <a:ahLst/>
            <a:cxnLst/>
            <a:rect l="l" t="t" r="r" b="b"/>
            <a:pathLst>
              <a:path w="1880654" h="283427">
                <a:moveTo>
                  <a:pt x="209606" y="152973"/>
                </a:moveTo>
                <a:cubicBezTo>
                  <a:pt x="199930" y="152941"/>
                  <a:pt x="192445" y="155140"/>
                  <a:pt x="187152" y="159569"/>
                </a:cubicBezTo>
                <a:cubicBezTo>
                  <a:pt x="181860" y="163998"/>
                  <a:pt x="179178" y="170849"/>
                  <a:pt x="179108" y="180120"/>
                </a:cubicBezTo>
                <a:cubicBezTo>
                  <a:pt x="179165" y="187809"/>
                  <a:pt x="181415" y="193783"/>
                  <a:pt x="185856" y="198040"/>
                </a:cubicBezTo>
                <a:cubicBezTo>
                  <a:pt x="190297" y="202298"/>
                  <a:pt x="196588" y="204458"/>
                  <a:pt x="204727" y="204522"/>
                </a:cubicBezTo>
                <a:cubicBezTo>
                  <a:pt x="216310" y="204306"/>
                  <a:pt x="225472" y="200544"/>
                  <a:pt x="232213" y="193235"/>
                </a:cubicBezTo>
                <a:cubicBezTo>
                  <a:pt x="238955" y="185926"/>
                  <a:pt x="242399" y="176366"/>
                  <a:pt x="242545" y="164555"/>
                </a:cubicBezTo>
                <a:lnTo>
                  <a:pt x="242545" y="152973"/>
                </a:lnTo>
                <a:close/>
                <a:moveTo>
                  <a:pt x="1307040" y="88660"/>
                </a:moveTo>
                <a:cubicBezTo>
                  <a:pt x="1294131" y="88793"/>
                  <a:pt x="1284118" y="93862"/>
                  <a:pt x="1277003" y="103867"/>
                </a:cubicBezTo>
                <a:cubicBezTo>
                  <a:pt x="1269888" y="113871"/>
                  <a:pt x="1266279" y="128011"/>
                  <a:pt x="1266178" y="146286"/>
                </a:cubicBezTo>
                <a:cubicBezTo>
                  <a:pt x="1266336" y="165495"/>
                  <a:pt x="1270059" y="179901"/>
                  <a:pt x="1277346" y="189506"/>
                </a:cubicBezTo>
                <a:cubicBezTo>
                  <a:pt x="1284633" y="199110"/>
                  <a:pt x="1294531" y="203912"/>
                  <a:pt x="1307040" y="203912"/>
                </a:cubicBezTo>
                <a:cubicBezTo>
                  <a:pt x="1319549" y="203817"/>
                  <a:pt x="1329447" y="198824"/>
                  <a:pt x="1336734" y="188934"/>
                </a:cubicBezTo>
                <a:cubicBezTo>
                  <a:pt x="1344020" y="179044"/>
                  <a:pt x="1347743" y="164828"/>
                  <a:pt x="1347902" y="146286"/>
                </a:cubicBezTo>
                <a:cubicBezTo>
                  <a:pt x="1347800" y="127477"/>
                  <a:pt x="1344192" y="113185"/>
                  <a:pt x="1337077" y="103409"/>
                </a:cubicBezTo>
                <a:cubicBezTo>
                  <a:pt x="1329961" y="93633"/>
                  <a:pt x="1319949" y="88717"/>
                  <a:pt x="1307040" y="88660"/>
                </a:cubicBezTo>
                <a:close/>
                <a:moveTo>
                  <a:pt x="1670439" y="88050"/>
                </a:moveTo>
                <a:cubicBezTo>
                  <a:pt x="1656812" y="88111"/>
                  <a:pt x="1646405" y="93097"/>
                  <a:pt x="1639220" y="103009"/>
                </a:cubicBezTo>
                <a:cubicBezTo>
                  <a:pt x="1632035" y="112922"/>
                  <a:pt x="1628413" y="127398"/>
                  <a:pt x="1628356" y="146437"/>
                </a:cubicBezTo>
                <a:cubicBezTo>
                  <a:pt x="1628356" y="166287"/>
                  <a:pt x="1631710" y="180947"/>
                  <a:pt x="1638419" y="190419"/>
                </a:cubicBezTo>
                <a:cubicBezTo>
                  <a:pt x="1645128" y="199891"/>
                  <a:pt x="1655192" y="204592"/>
                  <a:pt x="1668609" y="204522"/>
                </a:cubicBezTo>
                <a:cubicBezTo>
                  <a:pt x="1681042" y="204459"/>
                  <a:pt x="1690636" y="199491"/>
                  <a:pt x="1697389" y="189621"/>
                </a:cubicBezTo>
                <a:cubicBezTo>
                  <a:pt x="1704142" y="179750"/>
                  <a:pt x="1707560" y="165355"/>
                  <a:pt x="1707642" y="146437"/>
                </a:cubicBezTo>
                <a:lnTo>
                  <a:pt x="1707642" y="146286"/>
                </a:lnTo>
                <a:cubicBezTo>
                  <a:pt x="1707445" y="124785"/>
                  <a:pt x="1703951" y="109629"/>
                  <a:pt x="1697160" y="100818"/>
                </a:cubicBezTo>
                <a:cubicBezTo>
                  <a:pt x="1690369" y="92008"/>
                  <a:pt x="1681462" y="87752"/>
                  <a:pt x="1670439" y="88050"/>
                </a:cubicBezTo>
                <a:close/>
                <a:moveTo>
                  <a:pt x="487585" y="88050"/>
                </a:moveTo>
                <a:cubicBezTo>
                  <a:pt x="474872" y="88215"/>
                  <a:pt x="465152" y="93145"/>
                  <a:pt x="458424" y="102838"/>
                </a:cubicBezTo>
                <a:cubicBezTo>
                  <a:pt x="451696" y="112531"/>
                  <a:pt x="448304" y="125998"/>
                  <a:pt x="448247" y="143238"/>
                </a:cubicBezTo>
                <a:cubicBezTo>
                  <a:pt x="448552" y="163546"/>
                  <a:pt x="452363" y="177889"/>
                  <a:pt x="459682" y="186268"/>
                </a:cubicBezTo>
                <a:cubicBezTo>
                  <a:pt x="467001" y="194646"/>
                  <a:pt x="475997" y="198699"/>
                  <a:pt x="486670" y="198426"/>
                </a:cubicBezTo>
                <a:cubicBezTo>
                  <a:pt x="500005" y="198413"/>
                  <a:pt x="510233" y="193789"/>
                  <a:pt x="517355" y="184553"/>
                </a:cubicBezTo>
                <a:cubicBezTo>
                  <a:pt x="524477" y="175317"/>
                  <a:pt x="528073" y="161545"/>
                  <a:pt x="528142" y="143238"/>
                </a:cubicBezTo>
                <a:cubicBezTo>
                  <a:pt x="528111" y="124931"/>
                  <a:pt x="524667" y="111159"/>
                  <a:pt x="517812" y="101923"/>
                </a:cubicBezTo>
                <a:cubicBezTo>
                  <a:pt x="510957" y="92687"/>
                  <a:pt x="500881" y="88063"/>
                  <a:pt x="487585" y="88050"/>
                </a:cubicBezTo>
                <a:close/>
                <a:moveTo>
                  <a:pt x="657817" y="87136"/>
                </a:moveTo>
                <a:cubicBezTo>
                  <a:pt x="646477" y="87136"/>
                  <a:pt x="637442" y="91025"/>
                  <a:pt x="630714" y="98804"/>
                </a:cubicBezTo>
                <a:cubicBezTo>
                  <a:pt x="623986" y="106583"/>
                  <a:pt x="619907" y="118251"/>
                  <a:pt x="618478" y="133808"/>
                </a:cubicBezTo>
                <a:lnTo>
                  <a:pt x="692277" y="133808"/>
                </a:lnTo>
                <a:cubicBezTo>
                  <a:pt x="692290" y="118785"/>
                  <a:pt x="689444" y="107269"/>
                  <a:pt x="683739" y="99261"/>
                </a:cubicBezTo>
                <a:cubicBezTo>
                  <a:pt x="678033" y="91254"/>
                  <a:pt x="669393" y="87212"/>
                  <a:pt x="657817" y="87136"/>
                </a:cubicBezTo>
                <a:close/>
                <a:moveTo>
                  <a:pt x="1400175" y="70410"/>
                </a:moveTo>
                <a:lnTo>
                  <a:pt x="1449820" y="70410"/>
                </a:lnTo>
                <a:lnTo>
                  <a:pt x="1449820" y="167118"/>
                </a:lnTo>
                <a:cubicBezTo>
                  <a:pt x="1449661" y="178616"/>
                  <a:pt x="1451808" y="187548"/>
                  <a:pt x="1456262" y="193915"/>
                </a:cubicBezTo>
                <a:cubicBezTo>
                  <a:pt x="1460716" y="200282"/>
                  <a:pt x="1468429" y="203513"/>
                  <a:pt x="1479402" y="203608"/>
                </a:cubicBezTo>
                <a:cubicBezTo>
                  <a:pt x="1489987" y="203411"/>
                  <a:pt x="1498628" y="199015"/>
                  <a:pt x="1505325" y="190418"/>
                </a:cubicBezTo>
                <a:cubicBezTo>
                  <a:pt x="1512022" y="181822"/>
                  <a:pt x="1515478" y="170203"/>
                  <a:pt x="1515694" y="155563"/>
                </a:cubicBezTo>
                <a:lnTo>
                  <a:pt x="1515694" y="90793"/>
                </a:lnTo>
                <a:lnTo>
                  <a:pt x="1493431" y="90793"/>
                </a:lnTo>
                <a:lnTo>
                  <a:pt x="1493431" y="70410"/>
                </a:lnTo>
                <a:lnTo>
                  <a:pt x="1543088" y="70410"/>
                </a:lnTo>
                <a:lnTo>
                  <a:pt x="1543088" y="202087"/>
                </a:lnTo>
                <a:lnTo>
                  <a:pt x="1565339" y="202087"/>
                </a:lnTo>
                <a:lnTo>
                  <a:pt x="1565339" y="222467"/>
                </a:lnTo>
                <a:lnTo>
                  <a:pt x="1518129" y="222467"/>
                </a:lnTo>
                <a:lnTo>
                  <a:pt x="1518129" y="199959"/>
                </a:lnTo>
                <a:cubicBezTo>
                  <a:pt x="1513316" y="207811"/>
                  <a:pt x="1507243" y="214010"/>
                  <a:pt x="1499911" y="218555"/>
                </a:cubicBezTo>
                <a:cubicBezTo>
                  <a:pt x="1492580" y="223100"/>
                  <a:pt x="1483608" y="225420"/>
                  <a:pt x="1472998" y="225515"/>
                </a:cubicBezTo>
                <a:cubicBezTo>
                  <a:pt x="1456876" y="225553"/>
                  <a:pt x="1444395" y="220761"/>
                  <a:pt x="1435557" y="211141"/>
                </a:cubicBezTo>
                <a:cubicBezTo>
                  <a:pt x="1426719" y="201521"/>
                  <a:pt x="1422240" y="186847"/>
                  <a:pt x="1422121" y="167118"/>
                </a:cubicBezTo>
                <a:lnTo>
                  <a:pt x="1422121" y="90793"/>
                </a:lnTo>
                <a:lnTo>
                  <a:pt x="1400175" y="90793"/>
                </a:lnTo>
                <a:close/>
                <a:moveTo>
                  <a:pt x="1823677" y="67057"/>
                </a:moveTo>
                <a:cubicBezTo>
                  <a:pt x="1835037" y="67203"/>
                  <a:pt x="1845020" y="68280"/>
                  <a:pt x="1853625" y="70290"/>
                </a:cubicBezTo>
                <a:cubicBezTo>
                  <a:pt x="1862230" y="72299"/>
                  <a:pt x="1869005" y="74366"/>
                  <a:pt x="1873949" y="76489"/>
                </a:cubicBezTo>
                <a:lnTo>
                  <a:pt x="1873949" y="111832"/>
                </a:lnTo>
                <a:lnTo>
                  <a:pt x="1852041" y="111832"/>
                </a:lnTo>
                <a:lnTo>
                  <a:pt x="1852041" y="92013"/>
                </a:lnTo>
                <a:cubicBezTo>
                  <a:pt x="1848514" y="91060"/>
                  <a:pt x="1844511" y="90222"/>
                  <a:pt x="1840031" y="89498"/>
                </a:cubicBezTo>
                <a:cubicBezTo>
                  <a:pt x="1835551" y="88774"/>
                  <a:pt x="1830709" y="88393"/>
                  <a:pt x="1825505" y="88355"/>
                </a:cubicBezTo>
                <a:cubicBezTo>
                  <a:pt x="1816913" y="88425"/>
                  <a:pt x="1810305" y="90343"/>
                  <a:pt x="1805679" y="94110"/>
                </a:cubicBezTo>
                <a:cubicBezTo>
                  <a:pt x="1801052" y="97876"/>
                  <a:pt x="1798714" y="103072"/>
                  <a:pt x="1798663" y="109697"/>
                </a:cubicBezTo>
                <a:cubicBezTo>
                  <a:pt x="1799000" y="116323"/>
                  <a:pt x="1802520" y="121214"/>
                  <a:pt x="1809224" y="124371"/>
                </a:cubicBezTo>
                <a:cubicBezTo>
                  <a:pt x="1815928" y="127528"/>
                  <a:pt x="1823795" y="130361"/>
                  <a:pt x="1832825" y="132870"/>
                </a:cubicBezTo>
                <a:cubicBezTo>
                  <a:pt x="1840328" y="135066"/>
                  <a:pt x="1847714" y="137754"/>
                  <a:pt x="1854983" y="140933"/>
                </a:cubicBezTo>
                <a:cubicBezTo>
                  <a:pt x="1862253" y="144112"/>
                  <a:pt x="1868303" y="148629"/>
                  <a:pt x="1873133" y="154484"/>
                </a:cubicBezTo>
                <a:cubicBezTo>
                  <a:pt x="1877963" y="160339"/>
                  <a:pt x="1880470" y="168380"/>
                  <a:pt x="1880654" y="178605"/>
                </a:cubicBezTo>
                <a:cubicBezTo>
                  <a:pt x="1880256" y="194427"/>
                  <a:pt x="1874736" y="206208"/>
                  <a:pt x="1864096" y="213947"/>
                </a:cubicBezTo>
                <a:cubicBezTo>
                  <a:pt x="1853455" y="221685"/>
                  <a:pt x="1840084" y="225541"/>
                  <a:pt x="1823982" y="225515"/>
                </a:cubicBezTo>
                <a:cubicBezTo>
                  <a:pt x="1812094" y="225376"/>
                  <a:pt x="1801716" y="224285"/>
                  <a:pt x="1792849" y="222244"/>
                </a:cubicBezTo>
                <a:cubicBezTo>
                  <a:pt x="1783982" y="220203"/>
                  <a:pt x="1776585" y="218048"/>
                  <a:pt x="1770659" y="215779"/>
                </a:cubicBezTo>
                <a:lnTo>
                  <a:pt x="1770659" y="177691"/>
                </a:lnTo>
                <a:lnTo>
                  <a:pt x="1792567" y="177691"/>
                </a:lnTo>
                <a:lnTo>
                  <a:pt x="1792567" y="199339"/>
                </a:lnTo>
                <a:cubicBezTo>
                  <a:pt x="1796449" y="200476"/>
                  <a:pt x="1800961" y="201556"/>
                  <a:pt x="1806101" y="202578"/>
                </a:cubicBezTo>
                <a:cubicBezTo>
                  <a:pt x="1811242" y="203601"/>
                  <a:pt x="1816592" y="204147"/>
                  <a:pt x="1822152" y="204217"/>
                </a:cubicBezTo>
                <a:cubicBezTo>
                  <a:pt x="1831657" y="204204"/>
                  <a:pt x="1838952" y="202172"/>
                  <a:pt x="1844035" y="198119"/>
                </a:cubicBezTo>
                <a:cubicBezTo>
                  <a:pt x="1849119" y="194066"/>
                  <a:pt x="1851686" y="188070"/>
                  <a:pt x="1851736" y="180130"/>
                </a:cubicBezTo>
                <a:cubicBezTo>
                  <a:pt x="1851342" y="172240"/>
                  <a:pt x="1847403" y="166676"/>
                  <a:pt x="1839918" y="163436"/>
                </a:cubicBezTo>
                <a:cubicBezTo>
                  <a:pt x="1832433" y="160197"/>
                  <a:pt x="1823766" y="157224"/>
                  <a:pt x="1813917" y="154518"/>
                </a:cubicBezTo>
                <a:cubicBezTo>
                  <a:pt x="1806846" y="152408"/>
                  <a:pt x="1799983" y="149818"/>
                  <a:pt x="1793326" y="146749"/>
                </a:cubicBezTo>
                <a:cubicBezTo>
                  <a:pt x="1786670" y="143679"/>
                  <a:pt x="1781166" y="139373"/>
                  <a:pt x="1776814" y="133830"/>
                </a:cubicBezTo>
                <a:cubicBezTo>
                  <a:pt x="1772462" y="128287"/>
                  <a:pt x="1770207" y="120751"/>
                  <a:pt x="1770050" y="111222"/>
                </a:cubicBezTo>
                <a:cubicBezTo>
                  <a:pt x="1770474" y="96449"/>
                  <a:pt x="1775789" y="85393"/>
                  <a:pt x="1785998" y="78054"/>
                </a:cubicBezTo>
                <a:cubicBezTo>
                  <a:pt x="1796206" y="70716"/>
                  <a:pt x="1808766" y="67050"/>
                  <a:pt x="1823677" y="67057"/>
                </a:cubicBezTo>
                <a:close/>
                <a:moveTo>
                  <a:pt x="1676538" y="67057"/>
                </a:moveTo>
                <a:cubicBezTo>
                  <a:pt x="1693433" y="66852"/>
                  <a:pt x="1707503" y="73044"/>
                  <a:pt x="1718746" y="85634"/>
                </a:cubicBezTo>
                <a:cubicBezTo>
                  <a:pt x="1729989" y="98223"/>
                  <a:pt x="1735825" y="118441"/>
                  <a:pt x="1736255" y="146286"/>
                </a:cubicBezTo>
                <a:lnTo>
                  <a:pt x="1736255" y="146437"/>
                </a:lnTo>
                <a:cubicBezTo>
                  <a:pt x="1736090" y="163881"/>
                  <a:pt x="1733139" y="178464"/>
                  <a:pt x="1727403" y="190186"/>
                </a:cubicBezTo>
                <a:cubicBezTo>
                  <a:pt x="1721666" y="201909"/>
                  <a:pt x="1714134" y="210726"/>
                  <a:pt x="1704806" y="216637"/>
                </a:cubicBezTo>
                <a:cubicBezTo>
                  <a:pt x="1695477" y="222548"/>
                  <a:pt x="1685343" y="225507"/>
                  <a:pt x="1674403" y="225515"/>
                </a:cubicBezTo>
                <a:cubicBezTo>
                  <a:pt x="1664238" y="225471"/>
                  <a:pt x="1655598" y="223886"/>
                  <a:pt x="1648483" y="220761"/>
                </a:cubicBezTo>
                <a:cubicBezTo>
                  <a:pt x="1641367" y="217636"/>
                  <a:pt x="1635472" y="213237"/>
                  <a:pt x="1630796" y="207564"/>
                </a:cubicBezTo>
                <a:lnTo>
                  <a:pt x="1630796" y="259996"/>
                </a:lnTo>
                <a:lnTo>
                  <a:pt x="1658851" y="259996"/>
                </a:lnTo>
                <a:lnTo>
                  <a:pt x="1658851" y="280379"/>
                </a:lnTo>
                <a:lnTo>
                  <a:pt x="1581150" y="280379"/>
                </a:lnTo>
                <a:lnTo>
                  <a:pt x="1581150" y="259996"/>
                </a:lnTo>
                <a:lnTo>
                  <a:pt x="1603401" y="259996"/>
                </a:lnTo>
                <a:lnTo>
                  <a:pt x="1603401" y="90786"/>
                </a:lnTo>
                <a:lnTo>
                  <a:pt x="1581150" y="90786"/>
                </a:lnTo>
                <a:lnTo>
                  <a:pt x="1581150" y="70410"/>
                </a:lnTo>
                <a:lnTo>
                  <a:pt x="1628356" y="70410"/>
                </a:lnTo>
                <a:lnTo>
                  <a:pt x="1628356" y="91100"/>
                </a:lnTo>
                <a:cubicBezTo>
                  <a:pt x="1633547" y="83573"/>
                  <a:pt x="1640167" y="77701"/>
                  <a:pt x="1648216" y="73485"/>
                </a:cubicBezTo>
                <a:cubicBezTo>
                  <a:pt x="1656265" y="69269"/>
                  <a:pt x="1665706" y="67127"/>
                  <a:pt x="1676538" y="67057"/>
                </a:cubicBezTo>
                <a:close/>
                <a:moveTo>
                  <a:pt x="1307040" y="67057"/>
                </a:moveTo>
                <a:cubicBezTo>
                  <a:pt x="1327412" y="67176"/>
                  <a:pt x="1343985" y="74016"/>
                  <a:pt x="1356758" y="87577"/>
                </a:cubicBezTo>
                <a:cubicBezTo>
                  <a:pt x="1369531" y="101138"/>
                  <a:pt x="1376117" y="120708"/>
                  <a:pt x="1376515" y="146286"/>
                </a:cubicBezTo>
                <a:cubicBezTo>
                  <a:pt x="1376155" y="172264"/>
                  <a:pt x="1369646" y="191948"/>
                  <a:pt x="1356987" y="205338"/>
                </a:cubicBezTo>
                <a:cubicBezTo>
                  <a:pt x="1344328" y="218728"/>
                  <a:pt x="1327679" y="225453"/>
                  <a:pt x="1307040" y="225515"/>
                </a:cubicBezTo>
                <a:cubicBezTo>
                  <a:pt x="1286401" y="225511"/>
                  <a:pt x="1269752" y="218899"/>
                  <a:pt x="1257093" y="205681"/>
                </a:cubicBezTo>
                <a:cubicBezTo>
                  <a:pt x="1244434" y="192463"/>
                  <a:pt x="1237924" y="172664"/>
                  <a:pt x="1237564" y="146286"/>
                </a:cubicBezTo>
                <a:cubicBezTo>
                  <a:pt x="1237963" y="121108"/>
                  <a:pt x="1244548" y="101653"/>
                  <a:pt x="1257322" y="87920"/>
                </a:cubicBezTo>
                <a:cubicBezTo>
                  <a:pt x="1270095" y="74187"/>
                  <a:pt x="1286668" y="67233"/>
                  <a:pt x="1307040" y="67057"/>
                </a:cubicBezTo>
                <a:close/>
                <a:moveTo>
                  <a:pt x="1215657" y="67057"/>
                </a:moveTo>
                <a:cubicBezTo>
                  <a:pt x="1217956" y="67082"/>
                  <a:pt x="1219988" y="67260"/>
                  <a:pt x="1221753" y="67590"/>
                </a:cubicBezTo>
                <a:cubicBezTo>
                  <a:pt x="1223518" y="67919"/>
                  <a:pt x="1224941" y="68249"/>
                  <a:pt x="1226020" y="68579"/>
                </a:cubicBezTo>
                <a:lnTo>
                  <a:pt x="1226020" y="97502"/>
                </a:lnTo>
                <a:cubicBezTo>
                  <a:pt x="1224585" y="97051"/>
                  <a:pt x="1222807" y="96733"/>
                  <a:pt x="1220686" y="96549"/>
                </a:cubicBezTo>
                <a:cubicBezTo>
                  <a:pt x="1218565" y="96365"/>
                  <a:pt x="1216482" y="96276"/>
                  <a:pt x="1214438" y="96282"/>
                </a:cubicBezTo>
                <a:cubicBezTo>
                  <a:pt x="1201801" y="96416"/>
                  <a:pt x="1191870" y="101027"/>
                  <a:pt x="1184644" y="110117"/>
                </a:cubicBezTo>
                <a:cubicBezTo>
                  <a:pt x="1177417" y="119207"/>
                  <a:pt x="1173734" y="131975"/>
                  <a:pt x="1173594" y="148421"/>
                </a:cubicBezTo>
                <a:lnTo>
                  <a:pt x="1173594" y="202084"/>
                </a:lnTo>
                <a:lnTo>
                  <a:pt x="1202855" y="202084"/>
                </a:lnTo>
                <a:lnTo>
                  <a:pt x="1202855" y="222467"/>
                </a:lnTo>
                <a:lnTo>
                  <a:pt x="1123950" y="222467"/>
                </a:lnTo>
                <a:lnTo>
                  <a:pt x="1123950" y="202084"/>
                </a:lnTo>
                <a:lnTo>
                  <a:pt x="1146201" y="202084"/>
                </a:lnTo>
                <a:lnTo>
                  <a:pt x="1146201" y="90489"/>
                </a:lnTo>
                <a:lnTo>
                  <a:pt x="1123950" y="90489"/>
                </a:lnTo>
                <a:lnTo>
                  <a:pt x="1123950" y="70410"/>
                </a:lnTo>
                <a:lnTo>
                  <a:pt x="1172377" y="70410"/>
                </a:lnTo>
                <a:lnTo>
                  <a:pt x="1172377" y="98722"/>
                </a:lnTo>
                <a:cubicBezTo>
                  <a:pt x="1176599" y="88741"/>
                  <a:pt x="1182250" y="80989"/>
                  <a:pt x="1189330" y="75466"/>
                </a:cubicBezTo>
                <a:cubicBezTo>
                  <a:pt x="1196410" y="69942"/>
                  <a:pt x="1205186" y="67139"/>
                  <a:pt x="1215657" y="67057"/>
                </a:cubicBezTo>
                <a:close/>
                <a:moveTo>
                  <a:pt x="658122" y="67057"/>
                </a:moveTo>
                <a:cubicBezTo>
                  <a:pt x="677893" y="67240"/>
                  <a:pt x="693068" y="74106"/>
                  <a:pt x="703645" y="87654"/>
                </a:cubicBezTo>
                <a:cubicBezTo>
                  <a:pt x="714223" y="101203"/>
                  <a:pt x="719565" y="120339"/>
                  <a:pt x="719671" y="145062"/>
                </a:cubicBezTo>
                <a:lnTo>
                  <a:pt x="719671" y="151449"/>
                </a:lnTo>
                <a:lnTo>
                  <a:pt x="618173" y="151449"/>
                </a:lnTo>
                <a:cubicBezTo>
                  <a:pt x="618967" y="170207"/>
                  <a:pt x="622944" y="183781"/>
                  <a:pt x="630104" y="192169"/>
                </a:cubicBezTo>
                <a:cubicBezTo>
                  <a:pt x="637264" y="200557"/>
                  <a:pt x="646502" y="204674"/>
                  <a:pt x="657817" y="204522"/>
                </a:cubicBezTo>
                <a:cubicBezTo>
                  <a:pt x="667983" y="204325"/>
                  <a:pt x="675937" y="201669"/>
                  <a:pt x="681680" y="196553"/>
                </a:cubicBezTo>
                <a:cubicBezTo>
                  <a:pt x="687424" y="191438"/>
                  <a:pt x="690346" y="185045"/>
                  <a:pt x="690448" y="177375"/>
                </a:cubicBezTo>
                <a:lnTo>
                  <a:pt x="717541" y="177375"/>
                </a:lnTo>
                <a:cubicBezTo>
                  <a:pt x="717409" y="191524"/>
                  <a:pt x="712194" y="203017"/>
                  <a:pt x="701895" y="211853"/>
                </a:cubicBezTo>
                <a:cubicBezTo>
                  <a:pt x="691597" y="220690"/>
                  <a:pt x="677006" y="225244"/>
                  <a:pt x="658122" y="225515"/>
                </a:cubicBezTo>
                <a:cubicBezTo>
                  <a:pt x="637934" y="225587"/>
                  <a:pt x="621602" y="219127"/>
                  <a:pt x="609127" y="206137"/>
                </a:cubicBezTo>
                <a:cubicBezTo>
                  <a:pt x="596652" y="193146"/>
                  <a:pt x="590231" y="173193"/>
                  <a:pt x="589865" y="146278"/>
                </a:cubicBezTo>
                <a:cubicBezTo>
                  <a:pt x="590231" y="121106"/>
                  <a:pt x="596652" y="101654"/>
                  <a:pt x="609127" y="87921"/>
                </a:cubicBezTo>
                <a:cubicBezTo>
                  <a:pt x="621602" y="74188"/>
                  <a:pt x="637934" y="67234"/>
                  <a:pt x="658122" y="67057"/>
                </a:cubicBezTo>
                <a:close/>
                <a:moveTo>
                  <a:pt x="481486" y="67057"/>
                </a:moveTo>
                <a:cubicBezTo>
                  <a:pt x="493036" y="67133"/>
                  <a:pt x="502794" y="69263"/>
                  <a:pt x="510760" y="73446"/>
                </a:cubicBezTo>
                <a:cubicBezTo>
                  <a:pt x="518726" y="77629"/>
                  <a:pt x="525128" y="83408"/>
                  <a:pt x="529965" y="90784"/>
                </a:cubicBezTo>
                <a:lnTo>
                  <a:pt x="529965" y="70410"/>
                </a:lnTo>
                <a:lnTo>
                  <a:pt x="572300" y="70410"/>
                </a:lnTo>
                <a:lnTo>
                  <a:pt x="572300" y="90784"/>
                </a:lnTo>
                <a:lnTo>
                  <a:pt x="553098" y="90784"/>
                </a:lnTo>
                <a:lnTo>
                  <a:pt x="553098" y="219115"/>
                </a:lnTo>
                <a:cubicBezTo>
                  <a:pt x="553087" y="239279"/>
                  <a:pt x="547706" y="254993"/>
                  <a:pt x="536957" y="266257"/>
                </a:cubicBezTo>
                <a:cubicBezTo>
                  <a:pt x="526208" y="277522"/>
                  <a:pt x="510156" y="283245"/>
                  <a:pt x="488803" y="283427"/>
                </a:cubicBezTo>
                <a:cubicBezTo>
                  <a:pt x="468233" y="283473"/>
                  <a:pt x="452830" y="279578"/>
                  <a:pt x="442595" y="271742"/>
                </a:cubicBezTo>
                <a:cubicBezTo>
                  <a:pt x="432360" y="263906"/>
                  <a:pt x="427246" y="251855"/>
                  <a:pt x="427254" y="235588"/>
                </a:cubicBezTo>
                <a:lnTo>
                  <a:pt x="454952" y="235588"/>
                </a:lnTo>
                <a:cubicBezTo>
                  <a:pt x="454895" y="244289"/>
                  <a:pt x="457602" y="250835"/>
                  <a:pt x="463072" y="255227"/>
                </a:cubicBezTo>
                <a:cubicBezTo>
                  <a:pt x="468543" y="259619"/>
                  <a:pt x="477120" y="261818"/>
                  <a:pt x="488805" y="261824"/>
                </a:cubicBezTo>
                <a:cubicBezTo>
                  <a:pt x="500615" y="261678"/>
                  <a:pt x="509700" y="257852"/>
                  <a:pt x="516060" y="250346"/>
                </a:cubicBezTo>
                <a:cubicBezTo>
                  <a:pt x="522419" y="242840"/>
                  <a:pt x="525634" y="232531"/>
                  <a:pt x="525704" y="219419"/>
                </a:cubicBezTo>
                <a:lnTo>
                  <a:pt x="525704" y="199035"/>
                </a:lnTo>
                <a:cubicBezTo>
                  <a:pt x="520685" y="205341"/>
                  <a:pt x="514408" y="210298"/>
                  <a:pt x="506873" y="213905"/>
                </a:cubicBezTo>
                <a:cubicBezTo>
                  <a:pt x="499338" y="217511"/>
                  <a:pt x="490469" y="219349"/>
                  <a:pt x="480266" y="219419"/>
                </a:cubicBezTo>
                <a:cubicBezTo>
                  <a:pt x="469338" y="219467"/>
                  <a:pt x="459283" y="216836"/>
                  <a:pt x="450102" y="211526"/>
                </a:cubicBezTo>
                <a:cubicBezTo>
                  <a:pt x="440920" y="206216"/>
                  <a:pt x="433534" y="197942"/>
                  <a:pt x="427944" y="186703"/>
                </a:cubicBezTo>
                <a:cubicBezTo>
                  <a:pt x="422354" y="175465"/>
                  <a:pt x="419483" y="160976"/>
                  <a:pt x="419329" y="143238"/>
                </a:cubicBezTo>
                <a:cubicBezTo>
                  <a:pt x="419498" y="126651"/>
                  <a:pt x="422475" y="112705"/>
                  <a:pt x="428260" y="101398"/>
                </a:cubicBezTo>
                <a:cubicBezTo>
                  <a:pt x="434046" y="90092"/>
                  <a:pt x="441628" y="81547"/>
                  <a:pt x="451005" y="75763"/>
                </a:cubicBezTo>
                <a:cubicBezTo>
                  <a:pt x="460382" y="69979"/>
                  <a:pt x="470542" y="67077"/>
                  <a:pt x="481486" y="67057"/>
                </a:cubicBezTo>
                <a:close/>
                <a:moveTo>
                  <a:pt x="396507" y="67057"/>
                </a:moveTo>
                <a:cubicBezTo>
                  <a:pt x="398806" y="67082"/>
                  <a:pt x="400838" y="67260"/>
                  <a:pt x="402603" y="67590"/>
                </a:cubicBezTo>
                <a:cubicBezTo>
                  <a:pt x="404368" y="67919"/>
                  <a:pt x="405791" y="68249"/>
                  <a:pt x="406870" y="68579"/>
                </a:cubicBezTo>
                <a:lnTo>
                  <a:pt x="406870" y="97502"/>
                </a:lnTo>
                <a:cubicBezTo>
                  <a:pt x="405435" y="97051"/>
                  <a:pt x="403657" y="96733"/>
                  <a:pt x="401536" y="96549"/>
                </a:cubicBezTo>
                <a:cubicBezTo>
                  <a:pt x="399415" y="96365"/>
                  <a:pt x="397332" y="96276"/>
                  <a:pt x="395288" y="96282"/>
                </a:cubicBezTo>
                <a:cubicBezTo>
                  <a:pt x="382651" y="96416"/>
                  <a:pt x="372720" y="101027"/>
                  <a:pt x="365494" y="110117"/>
                </a:cubicBezTo>
                <a:cubicBezTo>
                  <a:pt x="358267" y="119207"/>
                  <a:pt x="354584" y="131975"/>
                  <a:pt x="354445" y="148421"/>
                </a:cubicBezTo>
                <a:lnTo>
                  <a:pt x="354445" y="202084"/>
                </a:lnTo>
                <a:lnTo>
                  <a:pt x="383705" y="202084"/>
                </a:lnTo>
                <a:lnTo>
                  <a:pt x="383705" y="222467"/>
                </a:lnTo>
                <a:lnTo>
                  <a:pt x="304800" y="222467"/>
                </a:lnTo>
                <a:lnTo>
                  <a:pt x="304800" y="202084"/>
                </a:lnTo>
                <a:lnTo>
                  <a:pt x="327051" y="202084"/>
                </a:lnTo>
                <a:lnTo>
                  <a:pt x="327051" y="90489"/>
                </a:lnTo>
                <a:lnTo>
                  <a:pt x="304800" y="90489"/>
                </a:lnTo>
                <a:lnTo>
                  <a:pt x="304800" y="70410"/>
                </a:lnTo>
                <a:lnTo>
                  <a:pt x="353227" y="70410"/>
                </a:lnTo>
                <a:lnTo>
                  <a:pt x="353227" y="98722"/>
                </a:lnTo>
                <a:cubicBezTo>
                  <a:pt x="357449" y="88741"/>
                  <a:pt x="363100" y="80989"/>
                  <a:pt x="370180" y="75466"/>
                </a:cubicBezTo>
                <a:cubicBezTo>
                  <a:pt x="377260" y="69942"/>
                  <a:pt x="386036" y="67139"/>
                  <a:pt x="396507" y="67057"/>
                </a:cubicBezTo>
                <a:close/>
                <a:moveTo>
                  <a:pt x="213570" y="67057"/>
                </a:moveTo>
                <a:cubicBezTo>
                  <a:pt x="230460" y="66846"/>
                  <a:pt x="244009" y="70767"/>
                  <a:pt x="254218" y="78819"/>
                </a:cubicBezTo>
                <a:cubicBezTo>
                  <a:pt x="264427" y="86871"/>
                  <a:pt x="269667" y="100320"/>
                  <a:pt x="269939" y="119165"/>
                </a:cubicBezTo>
                <a:lnTo>
                  <a:pt x="269939" y="202082"/>
                </a:lnTo>
                <a:lnTo>
                  <a:pt x="292189" y="202082"/>
                </a:lnTo>
                <a:lnTo>
                  <a:pt x="292189" y="222467"/>
                </a:lnTo>
                <a:lnTo>
                  <a:pt x="245589" y="222467"/>
                </a:lnTo>
                <a:lnTo>
                  <a:pt x="245589" y="202387"/>
                </a:lnTo>
                <a:cubicBezTo>
                  <a:pt x="240140" y="209609"/>
                  <a:pt x="233356" y="215252"/>
                  <a:pt x="225236" y="219315"/>
                </a:cubicBezTo>
                <a:cubicBezTo>
                  <a:pt x="217117" y="223379"/>
                  <a:pt x="208349" y="225445"/>
                  <a:pt x="198932" y="225515"/>
                </a:cubicBezTo>
                <a:cubicBezTo>
                  <a:pt x="184779" y="225529"/>
                  <a:pt x="173238" y="221850"/>
                  <a:pt x="164312" y="214479"/>
                </a:cubicBezTo>
                <a:cubicBezTo>
                  <a:pt x="155385" y="207107"/>
                  <a:pt x="150780" y="195959"/>
                  <a:pt x="150495" y="181035"/>
                </a:cubicBezTo>
                <a:cubicBezTo>
                  <a:pt x="150703" y="165352"/>
                  <a:pt x="155842" y="153656"/>
                  <a:pt x="165912" y="145948"/>
                </a:cubicBezTo>
                <a:cubicBezTo>
                  <a:pt x="175981" y="138241"/>
                  <a:pt x="189733" y="134397"/>
                  <a:pt x="207165" y="134418"/>
                </a:cubicBezTo>
                <a:lnTo>
                  <a:pt x="242545" y="134418"/>
                </a:lnTo>
                <a:lnTo>
                  <a:pt x="242545" y="119775"/>
                </a:lnTo>
                <a:cubicBezTo>
                  <a:pt x="242462" y="108323"/>
                  <a:pt x="239882" y="100189"/>
                  <a:pt x="234806" y="95371"/>
                </a:cubicBezTo>
                <a:cubicBezTo>
                  <a:pt x="229729" y="90554"/>
                  <a:pt x="222650" y="88215"/>
                  <a:pt x="213570" y="88355"/>
                </a:cubicBezTo>
                <a:cubicBezTo>
                  <a:pt x="205361" y="88635"/>
                  <a:pt x="198295" y="89753"/>
                  <a:pt x="192373" y="91711"/>
                </a:cubicBezTo>
                <a:cubicBezTo>
                  <a:pt x="186451" y="93668"/>
                  <a:pt x="183350" y="94787"/>
                  <a:pt x="183071" y="95066"/>
                </a:cubicBezTo>
                <a:lnTo>
                  <a:pt x="183071" y="114285"/>
                </a:lnTo>
                <a:lnTo>
                  <a:pt x="161163" y="114285"/>
                </a:lnTo>
                <a:lnTo>
                  <a:pt x="161163" y="79532"/>
                </a:lnTo>
                <a:cubicBezTo>
                  <a:pt x="161313" y="79378"/>
                  <a:pt x="163854" y="78300"/>
                  <a:pt x="168786" y="76297"/>
                </a:cubicBezTo>
                <a:cubicBezTo>
                  <a:pt x="173718" y="74295"/>
                  <a:pt x="180141" y="72293"/>
                  <a:pt x="188055" y="70291"/>
                </a:cubicBezTo>
                <a:cubicBezTo>
                  <a:pt x="195968" y="68289"/>
                  <a:pt x="204474" y="67211"/>
                  <a:pt x="213570" y="67057"/>
                </a:cubicBezTo>
                <a:close/>
                <a:moveTo>
                  <a:pt x="797776" y="23166"/>
                </a:moveTo>
                <a:lnTo>
                  <a:pt x="797776" y="70410"/>
                </a:lnTo>
                <a:lnTo>
                  <a:pt x="837095" y="70410"/>
                </a:lnTo>
                <a:lnTo>
                  <a:pt x="837095" y="90793"/>
                </a:lnTo>
                <a:lnTo>
                  <a:pt x="797776" y="90793"/>
                </a:lnTo>
                <a:lnTo>
                  <a:pt x="797776" y="175630"/>
                </a:lnTo>
                <a:cubicBezTo>
                  <a:pt x="797789" y="185139"/>
                  <a:pt x="799516" y="192044"/>
                  <a:pt x="802958" y="196346"/>
                </a:cubicBezTo>
                <a:cubicBezTo>
                  <a:pt x="806400" y="200647"/>
                  <a:pt x="811479" y="202763"/>
                  <a:pt x="818198" y="202693"/>
                </a:cubicBezTo>
                <a:cubicBezTo>
                  <a:pt x="822122" y="202642"/>
                  <a:pt x="825932" y="202364"/>
                  <a:pt x="829628" y="201857"/>
                </a:cubicBezTo>
                <a:cubicBezTo>
                  <a:pt x="833323" y="201350"/>
                  <a:pt x="836219" y="200919"/>
                  <a:pt x="838315" y="200565"/>
                </a:cubicBezTo>
                <a:lnTo>
                  <a:pt x="838315" y="222776"/>
                </a:lnTo>
                <a:cubicBezTo>
                  <a:pt x="836098" y="223157"/>
                  <a:pt x="832911" y="223689"/>
                  <a:pt x="828751" y="224374"/>
                </a:cubicBezTo>
                <a:cubicBezTo>
                  <a:pt x="824592" y="225059"/>
                  <a:pt x="819957" y="225439"/>
                  <a:pt x="814845" y="225515"/>
                </a:cubicBezTo>
                <a:cubicBezTo>
                  <a:pt x="802462" y="225851"/>
                  <a:pt x="792043" y="222365"/>
                  <a:pt x="783588" y="215057"/>
                </a:cubicBezTo>
                <a:cubicBezTo>
                  <a:pt x="775132" y="207750"/>
                  <a:pt x="770731" y="194608"/>
                  <a:pt x="770382" y="175630"/>
                </a:cubicBezTo>
                <a:lnTo>
                  <a:pt x="770382" y="90793"/>
                </a:lnTo>
                <a:lnTo>
                  <a:pt x="741121" y="90793"/>
                </a:lnTo>
                <a:lnTo>
                  <a:pt x="741121" y="70410"/>
                </a:lnTo>
                <a:lnTo>
                  <a:pt x="770382" y="70410"/>
                </a:lnTo>
                <a:lnTo>
                  <a:pt x="770382" y="27461"/>
                </a:lnTo>
                <a:close/>
                <a:moveTo>
                  <a:pt x="0" y="3049"/>
                </a:moveTo>
                <a:lnTo>
                  <a:pt x="165469" y="3049"/>
                </a:lnTo>
                <a:lnTo>
                  <a:pt x="165469" y="55139"/>
                </a:lnTo>
                <a:lnTo>
                  <a:pt x="143561" y="55139"/>
                </a:lnTo>
                <a:lnTo>
                  <a:pt x="143561" y="27090"/>
                </a:lnTo>
                <a:lnTo>
                  <a:pt x="96889" y="27090"/>
                </a:lnTo>
                <a:lnTo>
                  <a:pt x="96889" y="202084"/>
                </a:lnTo>
                <a:lnTo>
                  <a:pt x="124953" y="202084"/>
                </a:lnTo>
                <a:lnTo>
                  <a:pt x="124953" y="222467"/>
                </a:lnTo>
                <a:lnTo>
                  <a:pt x="40516" y="222467"/>
                </a:lnTo>
                <a:lnTo>
                  <a:pt x="40516" y="202084"/>
                </a:lnTo>
                <a:lnTo>
                  <a:pt x="68580" y="202084"/>
                </a:lnTo>
                <a:lnTo>
                  <a:pt x="68580" y="27090"/>
                </a:lnTo>
                <a:lnTo>
                  <a:pt x="21908" y="27090"/>
                </a:lnTo>
                <a:lnTo>
                  <a:pt x="21908" y="55139"/>
                </a:lnTo>
                <a:lnTo>
                  <a:pt x="0" y="55139"/>
                </a:lnTo>
                <a:close/>
                <a:moveTo>
                  <a:pt x="1023885" y="1"/>
                </a:moveTo>
                <a:cubicBezTo>
                  <a:pt x="1037261" y="208"/>
                  <a:pt x="1048787" y="1654"/>
                  <a:pt x="1058463" y="4340"/>
                </a:cubicBezTo>
                <a:cubicBezTo>
                  <a:pt x="1068140" y="7027"/>
                  <a:pt x="1075597" y="9713"/>
                  <a:pt x="1080835" y="12399"/>
                </a:cubicBezTo>
                <a:cubicBezTo>
                  <a:pt x="1086073" y="15085"/>
                  <a:pt x="1088722" y="16532"/>
                  <a:pt x="1088784" y="16738"/>
                </a:cubicBezTo>
                <a:lnTo>
                  <a:pt x="1088784" y="64293"/>
                </a:lnTo>
                <a:lnTo>
                  <a:pt x="1067178" y="64293"/>
                </a:lnTo>
                <a:lnTo>
                  <a:pt x="1067178" y="33495"/>
                </a:lnTo>
                <a:cubicBezTo>
                  <a:pt x="1066950" y="33088"/>
                  <a:pt x="1062987" y="31462"/>
                  <a:pt x="1055289" y="28616"/>
                </a:cubicBezTo>
                <a:cubicBezTo>
                  <a:pt x="1047591" y="25770"/>
                  <a:pt x="1037529" y="24144"/>
                  <a:pt x="1025104" y="23737"/>
                </a:cubicBezTo>
                <a:cubicBezTo>
                  <a:pt x="1014069" y="23685"/>
                  <a:pt x="1003886" y="26772"/>
                  <a:pt x="994556" y="32998"/>
                </a:cubicBezTo>
                <a:cubicBezTo>
                  <a:pt x="985226" y="39225"/>
                  <a:pt x="977709" y="48907"/>
                  <a:pt x="972004" y="62046"/>
                </a:cubicBezTo>
                <a:cubicBezTo>
                  <a:pt x="966299" y="75184"/>
                  <a:pt x="963366" y="92094"/>
                  <a:pt x="963206" y="112777"/>
                </a:cubicBezTo>
                <a:cubicBezTo>
                  <a:pt x="963380" y="134694"/>
                  <a:pt x="966353" y="152182"/>
                  <a:pt x="972128" y="165242"/>
                </a:cubicBezTo>
                <a:cubicBezTo>
                  <a:pt x="977903" y="178302"/>
                  <a:pt x="985439" y="187688"/>
                  <a:pt x="994737" y="193399"/>
                </a:cubicBezTo>
                <a:cubicBezTo>
                  <a:pt x="1004035" y="199111"/>
                  <a:pt x="1014056" y="201905"/>
                  <a:pt x="1024799" y="201779"/>
                </a:cubicBezTo>
                <a:cubicBezTo>
                  <a:pt x="1036215" y="201436"/>
                  <a:pt x="1045705" y="200063"/>
                  <a:pt x="1053271" y="197662"/>
                </a:cubicBezTo>
                <a:cubicBezTo>
                  <a:pt x="1060836" y="195260"/>
                  <a:pt x="1064762" y="193888"/>
                  <a:pt x="1065048" y="193544"/>
                </a:cubicBezTo>
                <a:lnTo>
                  <a:pt x="1065048" y="134989"/>
                </a:lnTo>
                <a:lnTo>
                  <a:pt x="1019006" y="134989"/>
                </a:lnTo>
                <a:lnTo>
                  <a:pt x="1019006" y="113387"/>
                </a:lnTo>
                <a:lnTo>
                  <a:pt x="1093051" y="113387"/>
                </a:lnTo>
                <a:lnTo>
                  <a:pt x="1093051" y="210299"/>
                </a:lnTo>
                <a:cubicBezTo>
                  <a:pt x="1092914" y="210487"/>
                  <a:pt x="1089839" y="211802"/>
                  <a:pt x="1083826" y="214244"/>
                </a:cubicBezTo>
                <a:cubicBezTo>
                  <a:pt x="1077813" y="216686"/>
                  <a:pt x="1069682" y="219128"/>
                  <a:pt x="1059434" y="221570"/>
                </a:cubicBezTo>
                <a:cubicBezTo>
                  <a:pt x="1049186" y="224012"/>
                  <a:pt x="1037641" y="225327"/>
                  <a:pt x="1024799" y="225515"/>
                </a:cubicBezTo>
                <a:cubicBezTo>
                  <a:pt x="1008700" y="225675"/>
                  <a:pt x="993778" y="222141"/>
                  <a:pt x="980035" y="214913"/>
                </a:cubicBezTo>
                <a:cubicBezTo>
                  <a:pt x="966291" y="207684"/>
                  <a:pt x="955190" y="195799"/>
                  <a:pt x="946732" y="179257"/>
                </a:cubicBezTo>
                <a:cubicBezTo>
                  <a:pt x="938274" y="162716"/>
                  <a:pt x="933923" y="140556"/>
                  <a:pt x="933679" y="112777"/>
                </a:cubicBezTo>
                <a:cubicBezTo>
                  <a:pt x="933912" y="87001"/>
                  <a:pt x="938184" y="65781"/>
                  <a:pt x="946495" y="49115"/>
                </a:cubicBezTo>
                <a:cubicBezTo>
                  <a:pt x="954806" y="32450"/>
                  <a:pt x="965761" y="20087"/>
                  <a:pt x="979357" y="12028"/>
                </a:cubicBezTo>
                <a:cubicBezTo>
                  <a:pt x="992954" y="3968"/>
                  <a:pt x="1007796" y="-41"/>
                  <a:pt x="10238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6588" y="3015798"/>
            <a:ext cx="371913" cy="37191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002728A-B240-F930-223F-8B8108DD2E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48064" y="3002274"/>
            <a:ext cx="363477" cy="3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97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313 2.34568E-6 L 2.5E-6 2.34568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549 2.34568E-6 L -3.88889E-6 2.34568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150" fill="hold"/>
                                        <p:tgtEl>
                                          <p:spTgt spid="11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E-6 -0.02716 L -2.5E-6 2.83951E-6 " pathEditMode="relative" rAng="0" ptsTypes="AA">
                                      <p:cBhvr>
                                        <p:cTn id="5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66667E-6 -0.02716 L 1.66667E-6 -8.64198E-7 " pathEditMode="relative" rAng="0" ptsTypes="AA">
                                      <p:cBhvr>
                                        <p:cTn id="56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4" grpId="0" animBg="1"/>
      <p:bldP spid="14" grpId="1" animBg="1"/>
      <p:bldP spid="5" grpId="0" animBg="1"/>
      <p:bldP spid="5" grpId="1" animBg="1"/>
      <p:bldP spid="8" grpId="0" animBg="1"/>
      <p:bldP spid="8" grpId="1" animBg="1"/>
      <p:bldP spid="10" grpId="0" animBg="1"/>
      <p:bldP spid="10" grpId="1" animBg="1"/>
      <p:bldP spid="11" grpId="0" animBg="1"/>
      <p:bldP spid="11" grpId="1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B8D558-77DD-528D-9A7E-AAB6022B1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1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6593EAF-1F43-2BDA-CAF4-6E6A54DFCDF0}"/>
              </a:ext>
            </a:extLst>
          </p:cNvPr>
          <p:cNvSpPr/>
          <p:nvPr/>
        </p:nvSpPr>
        <p:spPr bwMode="gray">
          <a:xfrm>
            <a:off x="-900608" y="1203325"/>
            <a:ext cx="5890100" cy="3205163"/>
          </a:xfrm>
          <a:custGeom>
            <a:avLst/>
            <a:gdLst>
              <a:gd name="connsiteX0" fmla="*/ 1483 w 5890100"/>
              <a:gd name="connsiteY0" fmla="*/ 0 h 3205163"/>
              <a:gd name="connsiteX1" fmla="*/ 5890100 w 5890100"/>
              <a:gd name="connsiteY1" fmla="*/ 0 h 3205163"/>
              <a:gd name="connsiteX2" fmla="*/ 2825653 w 5890100"/>
              <a:gd name="connsiteY2" fmla="*/ 3205163 h 3205163"/>
              <a:gd name="connsiteX3" fmla="*/ 0 w 5890100"/>
              <a:gd name="connsiteY3" fmla="*/ 3205163 h 3205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0100" h="3205163">
                <a:moveTo>
                  <a:pt x="1483" y="0"/>
                </a:moveTo>
                <a:lnTo>
                  <a:pt x="5890100" y="0"/>
                </a:lnTo>
                <a:lnTo>
                  <a:pt x="2825653" y="3205163"/>
                </a:lnTo>
                <a:lnTo>
                  <a:pt x="0" y="3205163"/>
                </a:ln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5E02408-E785-BD0D-F932-A79EB3B1146D}"/>
              </a:ext>
            </a:extLst>
          </p:cNvPr>
          <p:cNvSpPr txBox="1">
            <a:spLocks noChangeAspect="1"/>
          </p:cNvSpPr>
          <p:nvPr/>
        </p:nvSpPr>
        <p:spPr bwMode="gray">
          <a:xfrm flipH="1">
            <a:off x="1081708" y="1347614"/>
            <a:ext cx="2935961" cy="3062974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09596 h 4224980"/>
              <a:gd name="connsiteX4" fmla="*/ 0 w 4052561"/>
              <a:gd name="connsiteY4" fmla="*/ 0 h 4224980"/>
              <a:gd name="connsiteX0" fmla="*/ 0 w 4052561"/>
              <a:gd name="connsiteY0" fmla="*/ 0 h 4227879"/>
              <a:gd name="connsiteX1" fmla="*/ 4052561 w 4052561"/>
              <a:gd name="connsiteY1" fmla="*/ 4224980 h 4227879"/>
              <a:gd name="connsiteX2" fmla="*/ 2087674 w 4052561"/>
              <a:gd name="connsiteY2" fmla="*/ 4227879 h 4227879"/>
              <a:gd name="connsiteX3" fmla="*/ 726 w 4052561"/>
              <a:gd name="connsiteY3" fmla="*/ 2009596 h 4227879"/>
              <a:gd name="connsiteX4" fmla="*/ 0 w 4052561"/>
              <a:gd name="connsiteY4" fmla="*/ 0 h 422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7879">
                <a:moveTo>
                  <a:pt x="0" y="0"/>
                </a:moveTo>
                <a:lnTo>
                  <a:pt x="4052561" y="4224980"/>
                </a:lnTo>
                <a:lnTo>
                  <a:pt x="2087674" y="4227879"/>
                </a:lnTo>
                <a:lnTo>
                  <a:pt x="726" y="20095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00" b="1" kern="1200" cap="none" baseline="0" dirty="0">
                <a:noFill/>
                <a:latin typeface="+mn-lt"/>
                <a:ea typeface="+mn-ea"/>
                <a:cs typeface="+mn-cs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A5CD62D-1DC9-E45F-9788-8D55D0060DBC}"/>
              </a:ext>
            </a:extLst>
          </p:cNvPr>
          <p:cNvSpPr txBox="1">
            <a:spLocks/>
          </p:cNvSpPr>
          <p:nvPr/>
        </p:nvSpPr>
        <p:spPr bwMode="gray">
          <a:xfrm>
            <a:off x="431800" y="2427734"/>
            <a:ext cx="2719527" cy="49244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5000" b="0" kern="1200" cap="none" baseline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3200" dirty="0"/>
              <a:t>Characteristic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nulla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40" y="594382"/>
            <a:ext cx="6400800" cy="276999"/>
          </a:xfrm>
        </p:spPr>
        <p:txBody>
          <a:bodyPr/>
          <a:lstStyle/>
          <a:p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iu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oree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2340" y="2208788"/>
            <a:ext cx="3174195" cy="3174195"/>
          </a:xfrm>
          <a:prstGeom prst="rect">
            <a:avLst/>
          </a:prstGeom>
        </p:spPr>
      </p:pic>
      <p:cxnSp>
        <p:nvCxnSpPr>
          <p:cNvPr id="18" name="Gerade Verbindung 68">
            <a:extLst>
              <a:ext uri="{FF2B5EF4-FFF2-40B4-BE49-F238E27FC236}">
                <a16:creationId xmlns:a16="http://schemas.microsoft.com/office/drawing/2014/main" id="{B3E191B9-99D2-A75B-73DC-80DC6703309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8173" y="1969493"/>
            <a:ext cx="2296903" cy="24382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3">
            <a:extLst>
              <a:ext uri="{FF2B5EF4-FFF2-40B4-BE49-F238E27FC236}">
                <a16:creationId xmlns:a16="http://schemas.microsoft.com/office/drawing/2014/main" id="{C1C76DDB-5554-FFF8-F769-C9D8FDAB83DA}"/>
              </a:ext>
            </a:extLst>
          </p:cNvPr>
          <p:cNvCxnSpPr>
            <a:cxnSpLocks/>
          </p:cNvCxnSpPr>
          <p:nvPr/>
        </p:nvCxnSpPr>
        <p:spPr bwMode="gray">
          <a:xfrm flipV="1">
            <a:off x="3361445" y="2427734"/>
            <a:ext cx="1867461" cy="198234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68">
            <a:extLst>
              <a:ext uri="{FF2B5EF4-FFF2-40B4-BE49-F238E27FC236}">
                <a16:creationId xmlns:a16="http://schemas.microsoft.com/office/drawing/2014/main" id="{7C68E324-30B4-6FB0-4540-9DA8D7D5AD1C}"/>
              </a:ext>
            </a:extLst>
          </p:cNvPr>
          <p:cNvCxnSpPr>
            <a:cxnSpLocks/>
          </p:cNvCxnSpPr>
          <p:nvPr/>
        </p:nvCxnSpPr>
        <p:spPr bwMode="gray">
          <a:xfrm flipV="1">
            <a:off x="2524125" y="1514864"/>
            <a:ext cx="2703195" cy="286948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E05715E0-82F9-E08F-77C9-08D755E87F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8344" y="1419622"/>
            <a:ext cx="3420120" cy="1692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B3F594CB-9050-4E5C-FD90-AF56246CDF24}"/>
              </a:ext>
            </a:extLst>
          </p:cNvPr>
          <p:cNvSpPr txBox="1">
            <a:spLocks/>
          </p:cNvSpPr>
          <p:nvPr/>
        </p:nvSpPr>
        <p:spPr bwMode="gray">
          <a:xfrm>
            <a:off x="5328344" y="1873098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81567DB7-DB65-0F47-DCFE-D48D5C4E8418}"/>
              </a:ext>
            </a:extLst>
          </p:cNvPr>
          <p:cNvSpPr txBox="1">
            <a:spLocks/>
          </p:cNvSpPr>
          <p:nvPr/>
        </p:nvSpPr>
        <p:spPr bwMode="gray">
          <a:xfrm>
            <a:off x="5328344" y="2326574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3" name="Gerade Verbindung 74">
            <a:extLst>
              <a:ext uri="{FF2B5EF4-FFF2-40B4-BE49-F238E27FC236}">
                <a16:creationId xmlns:a16="http://schemas.microsoft.com/office/drawing/2014/main" id="{E2A6CFFE-324F-4150-EAC7-2830E2ADC0E5}"/>
              </a:ext>
            </a:extLst>
          </p:cNvPr>
          <p:cNvCxnSpPr>
            <a:cxnSpLocks/>
          </p:cNvCxnSpPr>
          <p:nvPr/>
        </p:nvCxnSpPr>
        <p:spPr bwMode="gray">
          <a:xfrm flipV="1">
            <a:off x="3802860" y="2893123"/>
            <a:ext cx="1424556" cy="1512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571AA14F-748C-6A35-601A-A82781A7ECC0}"/>
              </a:ext>
            </a:extLst>
          </p:cNvPr>
          <p:cNvSpPr txBox="1">
            <a:spLocks/>
          </p:cNvSpPr>
          <p:nvPr/>
        </p:nvSpPr>
        <p:spPr bwMode="gray">
          <a:xfrm>
            <a:off x="5328344" y="2780050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5" name="Gerade Verbindung 74">
            <a:extLst>
              <a:ext uri="{FF2B5EF4-FFF2-40B4-BE49-F238E27FC236}">
                <a16:creationId xmlns:a16="http://schemas.microsoft.com/office/drawing/2014/main" id="{A400D3F9-B2C3-4E83-781E-9B5E7EEAA0F2}"/>
              </a:ext>
            </a:extLst>
          </p:cNvPr>
          <p:cNvCxnSpPr>
            <a:cxnSpLocks/>
          </p:cNvCxnSpPr>
          <p:nvPr/>
        </p:nvCxnSpPr>
        <p:spPr bwMode="gray">
          <a:xfrm flipV="1">
            <a:off x="4250783" y="3363838"/>
            <a:ext cx="976633" cy="103671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F24A94CD-910D-D167-D9D3-0FCBB8630F28}"/>
              </a:ext>
            </a:extLst>
          </p:cNvPr>
          <p:cNvSpPr txBox="1">
            <a:spLocks/>
          </p:cNvSpPr>
          <p:nvPr/>
        </p:nvSpPr>
        <p:spPr bwMode="gray">
          <a:xfrm>
            <a:off x="5328344" y="3233526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4" name="Gerade Verbindung 75">
            <a:extLst>
              <a:ext uri="{FF2B5EF4-FFF2-40B4-BE49-F238E27FC236}">
                <a16:creationId xmlns:a16="http://schemas.microsoft.com/office/drawing/2014/main" id="{ED9372F6-6632-9134-A2CC-55B133836E3A}"/>
              </a:ext>
            </a:extLst>
          </p:cNvPr>
          <p:cNvCxnSpPr>
            <a:cxnSpLocks/>
          </p:cNvCxnSpPr>
          <p:nvPr/>
        </p:nvCxnSpPr>
        <p:spPr bwMode="gray">
          <a:xfrm flipV="1">
            <a:off x="4643438" y="3795886"/>
            <a:ext cx="583217" cy="6190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1355AF6B-3E65-BC86-E321-A8009E6B6847}"/>
              </a:ext>
            </a:extLst>
          </p:cNvPr>
          <p:cNvSpPr txBox="1">
            <a:spLocks/>
          </p:cNvSpPr>
          <p:nvPr/>
        </p:nvSpPr>
        <p:spPr bwMode="gray">
          <a:xfrm>
            <a:off x="5328344" y="3687002"/>
            <a:ext cx="3420120" cy="172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8" name="Gerade Verbindung 76">
            <a:extLst>
              <a:ext uri="{FF2B5EF4-FFF2-40B4-BE49-F238E27FC236}">
                <a16:creationId xmlns:a16="http://schemas.microsoft.com/office/drawing/2014/main" id="{B8C2AAF8-CADC-9258-6350-8223CB1E96B2}"/>
              </a:ext>
            </a:extLst>
          </p:cNvPr>
          <p:cNvCxnSpPr>
            <a:cxnSpLocks/>
          </p:cNvCxnSpPr>
          <p:nvPr/>
        </p:nvCxnSpPr>
        <p:spPr bwMode="gray">
          <a:xfrm flipV="1">
            <a:off x="5076825" y="4227934"/>
            <a:ext cx="150448" cy="159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F34E2894-E7D4-01A3-0524-E030D953604F}"/>
              </a:ext>
            </a:extLst>
          </p:cNvPr>
          <p:cNvSpPr txBox="1">
            <a:spLocks/>
          </p:cNvSpPr>
          <p:nvPr/>
        </p:nvSpPr>
        <p:spPr bwMode="gray">
          <a:xfrm>
            <a:off x="5328344" y="4144019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/>
      <p:bldP spid="29" grpId="0" build="p"/>
      <p:bldP spid="30" grpId="0" build="p"/>
      <p:bldP spid="44" grpId="0" build="p"/>
      <p:bldP spid="48" grpId="0" build="p"/>
      <p:bldP spid="66" grpId="0" build="p"/>
      <p:bldP spid="6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747DB41-2C72-5C67-3B6D-A838E018B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48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Oval 24">
            <a:extLst>
              <a:ext uri="{FF2B5EF4-FFF2-40B4-BE49-F238E27FC236}">
                <a16:creationId xmlns:a16="http://schemas.microsoft.com/office/drawing/2014/main" id="{0CCB38AD-7DA0-F3EA-6E85-3292D65CB23B}"/>
              </a:ext>
            </a:extLst>
          </p:cNvPr>
          <p:cNvSpPr/>
          <p:nvPr/>
        </p:nvSpPr>
        <p:spPr>
          <a:xfrm>
            <a:off x="3310929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F779DDA-5D0E-31F5-F957-9976F6EC3464}"/>
              </a:ext>
            </a:extLst>
          </p:cNvPr>
          <p:cNvSpPr txBox="1"/>
          <p:nvPr/>
        </p:nvSpPr>
        <p:spPr>
          <a:xfrm>
            <a:off x="899592" y="2415465"/>
            <a:ext cx="1902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DFD44D0-0B5C-0D61-A335-05704C302D49}"/>
              </a:ext>
            </a:extLst>
          </p:cNvPr>
          <p:cNvSpPr txBox="1"/>
          <p:nvPr/>
        </p:nvSpPr>
        <p:spPr>
          <a:xfrm>
            <a:off x="3173809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132DB7-4127-6A54-B345-0876450FB4F4}"/>
              </a:ext>
            </a:extLst>
          </p:cNvPr>
          <p:cNvSpPr txBox="1"/>
          <p:nvPr/>
        </p:nvSpPr>
        <p:spPr>
          <a:xfrm>
            <a:off x="1809730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28" name="Oval 4">
            <a:extLst>
              <a:ext uri="{FF2B5EF4-FFF2-40B4-BE49-F238E27FC236}">
                <a16:creationId xmlns:a16="http://schemas.microsoft.com/office/drawing/2014/main" id="{AEEC4E5A-4B49-6CE9-B155-ACA9413D80B2}"/>
              </a:ext>
            </a:extLst>
          </p:cNvPr>
          <p:cNvSpPr/>
          <p:nvPr/>
        </p:nvSpPr>
        <p:spPr>
          <a:xfrm>
            <a:off x="3160949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DC375544-82CE-3D27-04AA-66E1F2DBA60B}"/>
              </a:ext>
            </a:extLst>
          </p:cNvPr>
          <p:cNvSpPr/>
          <p:nvPr/>
        </p:nvSpPr>
        <p:spPr>
          <a:xfrm>
            <a:off x="324799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0" name="Oval 18">
            <a:extLst>
              <a:ext uri="{FF2B5EF4-FFF2-40B4-BE49-F238E27FC236}">
                <a16:creationId xmlns:a16="http://schemas.microsoft.com/office/drawing/2014/main" id="{67402484-8C13-B9E1-91B3-18C5C776DB91}"/>
              </a:ext>
            </a:extLst>
          </p:cNvPr>
          <p:cNvSpPr/>
          <p:nvPr/>
        </p:nvSpPr>
        <p:spPr>
          <a:xfrm>
            <a:off x="574258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1" name="Textfeld 17">
            <a:extLst>
              <a:ext uri="{FF2B5EF4-FFF2-40B4-BE49-F238E27FC236}">
                <a16:creationId xmlns:a16="http://schemas.microsoft.com/office/drawing/2014/main" id="{09802D6C-A830-B175-B221-1AFF9F8595E3}"/>
              </a:ext>
            </a:extLst>
          </p:cNvPr>
          <p:cNvSpPr txBox="1"/>
          <p:nvPr/>
        </p:nvSpPr>
        <p:spPr>
          <a:xfrm>
            <a:off x="6022988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4A374BBF-BFCE-1725-F91B-FD67D23746F1}"/>
              </a:ext>
            </a:extLst>
          </p:cNvPr>
          <p:cNvSpPr/>
          <p:nvPr/>
        </p:nvSpPr>
        <p:spPr>
          <a:xfrm>
            <a:off x="3070458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C42BCA6C-9CEC-0517-FC20-C7A87EDCC629}"/>
              </a:ext>
            </a:extLst>
          </p:cNvPr>
          <p:cNvSpPr/>
          <p:nvPr/>
        </p:nvSpPr>
        <p:spPr>
          <a:xfrm>
            <a:off x="3974542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A9A3AA15-AAE7-A46E-53BF-9E3E103541B1}"/>
              </a:ext>
            </a:extLst>
          </p:cNvPr>
          <p:cNvSpPr/>
          <p:nvPr/>
        </p:nvSpPr>
        <p:spPr>
          <a:xfrm>
            <a:off x="3786277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35" name="Rectangle 26">
            <a:extLst>
              <a:ext uri="{FF2B5EF4-FFF2-40B4-BE49-F238E27FC236}">
                <a16:creationId xmlns:a16="http://schemas.microsoft.com/office/drawing/2014/main" id="{8DA7660B-D43D-7073-1F6B-92F46F54F5BD}"/>
              </a:ext>
            </a:extLst>
          </p:cNvPr>
          <p:cNvSpPr/>
          <p:nvPr/>
        </p:nvSpPr>
        <p:spPr>
          <a:xfrm>
            <a:off x="3765943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C729DC5D-BC82-9D44-DBF2-BEB2D026F6C0}"/>
              </a:ext>
            </a:extLst>
          </p:cNvPr>
          <p:cNvSpPr txBox="1">
            <a:spLocks/>
          </p:cNvSpPr>
          <p:nvPr/>
        </p:nvSpPr>
        <p:spPr bwMode="gray">
          <a:xfrm>
            <a:off x="6200100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41" name="Oval 37">
            <a:extLst>
              <a:ext uri="{FF2B5EF4-FFF2-40B4-BE49-F238E27FC236}">
                <a16:creationId xmlns:a16="http://schemas.microsoft.com/office/drawing/2014/main" id="{78E32D94-342D-6575-73AA-0DF39E950D2A}"/>
              </a:ext>
            </a:extLst>
          </p:cNvPr>
          <p:cNvSpPr/>
          <p:nvPr/>
        </p:nvSpPr>
        <p:spPr>
          <a:xfrm>
            <a:off x="5919377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164BEB7-240B-ABC9-E79D-9A83764DD083}"/>
              </a:ext>
            </a:extLst>
          </p:cNvPr>
          <p:cNvSpPr txBox="1"/>
          <p:nvPr/>
        </p:nvSpPr>
        <p:spPr>
          <a:xfrm>
            <a:off x="5178348" y="3929537"/>
            <a:ext cx="1667873" cy="30777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3" name="Oval 3">
            <a:extLst>
              <a:ext uri="{FF2B5EF4-FFF2-40B4-BE49-F238E27FC236}">
                <a16:creationId xmlns:a16="http://schemas.microsoft.com/office/drawing/2014/main" id="{B7C83E91-011E-57F2-AFD8-F09ACF1E75B2}"/>
              </a:ext>
            </a:extLst>
          </p:cNvPr>
          <p:cNvSpPr/>
          <p:nvPr/>
        </p:nvSpPr>
        <p:spPr>
          <a:xfrm>
            <a:off x="5065863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8806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0.02068 L 2.22222E-6 2.83951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19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09877E-6 L -5.55556E-7 -2.09877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4.93827E-7 L 2.77778E-6 4.93827E-7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02253 L 4.72222E-6 2.83951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11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22222E-6 L -5.55556E-7 -2.22222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-4.44444E-6 L -1.66667E-6 -4.44444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/>
      <p:bldP spid="15" grpId="1"/>
      <p:bldP spid="22" grpId="0"/>
      <p:bldP spid="22" grpId="1"/>
      <p:bldP spid="24" grpId="0"/>
      <p:bldP spid="24" grpId="1"/>
      <p:bldP spid="28" grpId="0" animBg="1"/>
      <p:bldP spid="28" grpId="1" animBg="1"/>
      <p:bldP spid="29" grpId="0" animBg="1"/>
      <p:bldP spid="30" grpId="0" animBg="1"/>
      <p:bldP spid="31" grpId="0"/>
      <p:bldP spid="31" grpId="1"/>
      <p:bldP spid="32" grpId="0" animBg="1"/>
      <p:bldP spid="33" grpId="0" animBg="1"/>
      <p:bldP spid="35" grpId="0"/>
      <p:bldP spid="39" grpId="0"/>
      <p:bldP spid="39" grpId="1"/>
      <p:bldP spid="41" grpId="0" animBg="1"/>
      <p:bldP spid="42" grpId="0"/>
      <p:bldP spid="42" grpId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8BD2419-A77C-720A-1BFD-AB6A9698A0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195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467EDB79-AE26-60D0-4EEE-36D60AA90A6D}"/>
              </a:ext>
            </a:extLst>
          </p:cNvPr>
          <p:cNvSpPr/>
          <p:nvPr/>
        </p:nvSpPr>
        <p:spPr>
          <a:xfrm>
            <a:off x="2508013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34BD0F-7162-45E4-9DAA-1199DB83C255}"/>
              </a:ext>
            </a:extLst>
          </p:cNvPr>
          <p:cNvSpPr txBox="1"/>
          <p:nvPr/>
        </p:nvSpPr>
        <p:spPr>
          <a:xfrm>
            <a:off x="574635" y="2438731"/>
            <a:ext cx="15662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0A8CD90-19D5-BFE9-1AB2-974342C08F7D}"/>
              </a:ext>
            </a:extLst>
          </p:cNvPr>
          <p:cNvSpPr txBox="1"/>
          <p:nvPr/>
        </p:nvSpPr>
        <p:spPr>
          <a:xfrm>
            <a:off x="2370893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65BD83D-17E0-2A34-2565-F22AFD198C88}"/>
              </a:ext>
            </a:extLst>
          </p:cNvPr>
          <p:cNvSpPr txBox="1"/>
          <p:nvPr/>
        </p:nvSpPr>
        <p:spPr>
          <a:xfrm>
            <a:off x="1006814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7C839-A3DE-392C-84A9-9DFBA8F956D9}"/>
              </a:ext>
            </a:extLst>
          </p:cNvPr>
          <p:cNvSpPr/>
          <p:nvPr/>
        </p:nvSpPr>
        <p:spPr>
          <a:xfrm>
            <a:off x="2358033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6185117-67A2-5566-D41F-48F275303616}"/>
              </a:ext>
            </a:extLst>
          </p:cNvPr>
          <p:cNvSpPr/>
          <p:nvPr/>
        </p:nvSpPr>
        <p:spPr>
          <a:xfrm>
            <a:off x="244507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D31CD57-6990-DECD-6E6E-48BC657D440E}"/>
              </a:ext>
            </a:extLst>
          </p:cNvPr>
          <p:cNvSpPr/>
          <p:nvPr/>
        </p:nvSpPr>
        <p:spPr>
          <a:xfrm>
            <a:off x="493966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0" name="Textfeld 17">
            <a:extLst>
              <a:ext uri="{FF2B5EF4-FFF2-40B4-BE49-F238E27FC236}">
                <a16:creationId xmlns:a16="http://schemas.microsoft.com/office/drawing/2014/main" id="{13FD1E22-987A-2449-40D4-2EA6034F8967}"/>
              </a:ext>
            </a:extLst>
          </p:cNvPr>
          <p:cNvSpPr txBox="1"/>
          <p:nvPr/>
        </p:nvSpPr>
        <p:spPr>
          <a:xfrm>
            <a:off x="5220072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4956D3B-AA7F-9E5C-CFB3-471F95D76488}"/>
              </a:ext>
            </a:extLst>
          </p:cNvPr>
          <p:cNvSpPr/>
          <p:nvPr/>
        </p:nvSpPr>
        <p:spPr>
          <a:xfrm>
            <a:off x="2267542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8A5016-AD88-725A-DCD7-F0DDC93B1979}"/>
              </a:ext>
            </a:extLst>
          </p:cNvPr>
          <p:cNvSpPr/>
          <p:nvPr/>
        </p:nvSpPr>
        <p:spPr>
          <a:xfrm>
            <a:off x="3171626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54B9D7D-ACD7-39AE-087E-430249B94BFE}"/>
              </a:ext>
            </a:extLst>
          </p:cNvPr>
          <p:cNvSpPr/>
          <p:nvPr/>
        </p:nvSpPr>
        <p:spPr>
          <a:xfrm>
            <a:off x="2983361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1416ED-04C8-8934-E561-F9CE626BD2AA}"/>
              </a:ext>
            </a:extLst>
          </p:cNvPr>
          <p:cNvSpPr/>
          <p:nvPr/>
        </p:nvSpPr>
        <p:spPr>
          <a:xfrm>
            <a:off x="2963027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3DC7B69A-B823-F7F1-F334-9D9A701D1DD6}"/>
              </a:ext>
            </a:extLst>
          </p:cNvPr>
          <p:cNvSpPr txBox="1">
            <a:spLocks/>
          </p:cNvSpPr>
          <p:nvPr/>
        </p:nvSpPr>
        <p:spPr bwMode="gray">
          <a:xfrm>
            <a:off x="5397184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D896314-0B27-1A99-70BD-48F29294929A}"/>
              </a:ext>
            </a:extLst>
          </p:cNvPr>
          <p:cNvSpPr/>
          <p:nvPr/>
        </p:nvSpPr>
        <p:spPr>
          <a:xfrm>
            <a:off x="5116461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4DC2856F-BCCE-C2F7-906D-6B5B37A9F7DF}"/>
              </a:ext>
            </a:extLst>
          </p:cNvPr>
          <p:cNvSpPr>
            <a:spLocks noChangeAspect="1"/>
          </p:cNvSpPr>
          <p:nvPr/>
        </p:nvSpPr>
        <p:spPr>
          <a:xfrm>
            <a:off x="8282884" y="1967027"/>
            <a:ext cx="416432" cy="1476439"/>
          </a:xfrm>
          <a:custGeom>
            <a:avLst/>
            <a:gdLst>
              <a:gd name="connsiteX0" fmla="*/ 404192 w 619539"/>
              <a:gd name="connsiteY0" fmla="*/ 255104 h 2196547"/>
              <a:gd name="connsiteX1" fmla="*/ 619539 w 619539"/>
              <a:gd name="connsiteY1" fmla="*/ 0 h 2196547"/>
              <a:gd name="connsiteX2" fmla="*/ 619539 w 619539"/>
              <a:gd name="connsiteY2" fmla="*/ 1454426 h 2196547"/>
              <a:gd name="connsiteX3" fmla="*/ 0 w 619539"/>
              <a:gd name="connsiteY3" fmla="*/ 2196547 h 2196547"/>
              <a:gd name="connsiteX4" fmla="*/ 0 w 619539"/>
              <a:gd name="connsiteY4" fmla="*/ 1911626 h 2196547"/>
              <a:gd name="connsiteX5" fmla="*/ 410818 w 619539"/>
              <a:gd name="connsiteY5" fmla="*/ 1431234 h 2196547"/>
              <a:gd name="connsiteX6" fmla="*/ 404192 w 619539"/>
              <a:gd name="connsiteY6" fmla="*/ 255104 h 2196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539" h="2196547">
                <a:moveTo>
                  <a:pt x="404192" y="255104"/>
                </a:moveTo>
                <a:lnTo>
                  <a:pt x="619539" y="0"/>
                </a:lnTo>
                <a:lnTo>
                  <a:pt x="619539" y="1454426"/>
                </a:lnTo>
                <a:lnTo>
                  <a:pt x="0" y="2196547"/>
                </a:lnTo>
                <a:lnTo>
                  <a:pt x="0" y="1911626"/>
                </a:lnTo>
                <a:lnTo>
                  <a:pt x="410818" y="1431234"/>
                </a:lnTo>
                <a:cubicBezTo>
                  <a:pt x="408609" y="1039191"/>
                  <a:pt x="406401" y="647147"/>
                  <a:pt x="404192" y="255104"/>
                </a:cubicBezTo>
                <a:close/>
              </a:path>
            </a:pathLst>
          </a:custGeom>
          <a:solidFill>
            <a:srgbClr val="EC8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pPr marL="0" indent="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>
              <a:latin typeface="DWS Sans Light" panose="020B0404020101010102" pitchFamily="34" charset="7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69206C3-131B-22DD-8DD8-1FFCB55F842C}"/>
              </a:ext>
            </a:extLst>
          </p:cNvPr>
          <p:cNvSpPr>
            <a:spLocks noChangeAspect="1"/>
          </p:cNvSpPr>
          <p:nvPr/>
        </p:nvSpPr>
        <p:spPr>
          <a:xfrm>
            <a:off x="7106325" y="1977882"/>
            <a:ext cx="1463040" cy="1463040"/>
          </a:xfrm>
          <a:custGeom>
            <a:avLst/>
            <a:gdLst>
              <a:gd name="connsiteX0" fmla="*/ 0 w 1463040"/>
              <a:gd name="connsiteY0" fmla="*/ 0 h 1463040"/>
              <a:gd name="connsiteX1" fmla="*/ 1463040 w 1463040"/>
              <a:gd name="connsiteY1" fmla="*/ 0 h 1463040"/>
              <a:gd name="connsiteX2" fmla="*/ 1463040 w 1463040"/>
              <a:gd name="connsiteY2" fmla="*/ 950126 h 1463040"/>
              <a:gd name="connsiteX3" fmla="*/ 1011406 w 1463040"/>
              <a:gd name="connsiteY3" fmla="*/ 1463040 h 1463040"/>
              <a:gd name="connsiteX4" fmla="*/ 0 w 1463040"/>
              <a:gd name="connsiteY4" fmla="*/ 1463040 h 1463040"/>
              <a:gd name="connsiteX5" fmla="*/ 0 w 1463040"/>
              <a:gd name="connsiteY5" fmla="*/ 0 h 146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3040" h="1463040">
                <a:moveTo>
                  <a:pt x="0" y="0"/>
                </a:moveTo>
                <a:lnTo>
                  <a:pt x="1463040" y="0"/>
                </a:lnTo>
                <a:lnTo>
                  <a:pt x="1463040" y="950126"/>
                </a:lnTo>
                <a:lnTo>
                  <a:pt x="1011406" y="1463040"/>
                </a:lnTo>
                <a:lnTo>
                  <a:pt x="0" y="1463040"/>
                </a:lnTo>
                <a:lnTo>
                  <a:pt x="0" y="0"/>
                </a:lnTo>
                <a:close/>
              </a:path>
            </a:pathLst>
          </a:cu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576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600"/>
              </a:spcBef>
            </a:pPr>
            <a:endParaRPr lang="en-GB" sz="1100" b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661A01-6EA3-0C09-C58C-250E3751B405}"/>
              </a:ext>
            </a:extLst>
          </p:cNvPr>
          <p:cNvSpPr txBox="1">
            <a:spLocks/>
          </p:cNvSpPr>
          <p:nvPr/>
        </p:nvSpPr>
        <p:spPr bwMode="gray">
          <a:xfrm>
            <a:off x="7332486" y="2286209"/>
            <a:ext cx="10559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Aenean imperdiet. Etiam ultricies </a:t>
            </a:r>
            <a:r>
              <a:rPr lang="pt-BR" sz="1200" dirty="0">
                <a:solidFill>
                  <a:schemeClr val="tx1"/>
                </a:solidFill>
                <a:latin typeface="+mn-lt"/>
                <a:cs typeface="+mn-cs"/>
              </a:rPr>
              <a:t>nisi vel augue</a:t>
            </a: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. </a:t>
            </a:r>
            <a:endParaRPr lang="en-GB" sz="12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7308AA4-7C34-1089-1C78-C86AC1A7F21D}"/>
              </a:ext>
            </a:extLst>
          </p:cNvPr>
          <p:cNvSpPr txBox="1"/>
          <p:nvPr/>
        </p:nvSpPr>
        <p:spPr>
          <a:xfrm>
            <a:off x="4375432" y="3929537"/>
            <a:ext cx="1667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BACC35-9148-304B-B364-B6A28FD0F8A4}"/>
              </a:ext>
            </a:extLst>
          </p:cNvPr>
          <p:cNvSpPr/>
          <p:nvPr/>
        </p:nvSpPr>
        <p:spPr>
          <a:xfrm>
            <a:off x="4262947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4548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6216 4.07407E-6 L 4.16667E-6 4.07407E-6 " pathEditMode="relative" rAng="0" ptsTypes="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0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C4ED9CF9-2F1C-FD99-34D8-4C8D45DDF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83963936-4526-9A79-3B36-8A1BD3192AC2}"/>
              </a:ext>
            </a:extLst>
          </p:cNvPr>
          <p:cNvSpPr/>
          <p:nvPr/>
        </p:nvSpPr>
        <p:spPr>
          <a:xfrm>
            <a:off x="5614784" y="2138814"/>
            <a:ext cx="2528456" cy="1778951"/>
          </a:xfrm>
          <a:custGeom>
            <a:avLst/>
            <a:gdLst>
              <a:gd name="connsiteX0" fmla="*/ 0 w 2528456"/>
              <a:gd name="connsiteY0" fmla="*/ 0 h 1778951"/>
              <a:gd name="connsiteX1" fmla="*/ 2528456 w 2528456"/>
              <a:gd name="connsiteY1" fmla="*/ 0 h 1778951"/>
              <a:gd name="connsiteX2" fmla="*/ 2528456 w 2528456"/>
              <a:gd name="connsiteY2" fmla="*/ 1778951 h 1778951"/>
              <a:gd name="connsiteX3" fmla="*/ 0 w 2528456"/>
              <a:gd name="connsiteY3" fmla="*/ 1778951 h 177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8456" h="1778951">
                <a:moveTo>
                  <a:pt x="0" y="0"/>
                </a:moveTo>
                <a:lnTo>
                  <a:pt x="2528456" y="0"/>
                </a:lnTo>
                <a:lnTo>
                  <a:pt x="2528456" y="1778951"/>
                </a:lnTo>
                <a:lnTo>
                  <a:pt x="0" y="1778951"/>
                </a:lnTo>
                <a:close/>
              </a:path>
            </a:pathLst>
          </a:custGeom>
          <a:pattFill prst="dkUpDiag">
            <a:fgClr>
              <a:srgbClr val="C7C7C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de-DE" sz="1100" b="1" dirty="0">
              <a:latin typeface="+mj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9F26987-5AFB-291B-7840-B30B189A712D}"/>
              </a:ext>
            </a:extLst>
          </p:cNvPr>
          <p:cNvGraphicFramePr/>
          <p:nvPr/>
        </p:nvGraphicFramePr>
        <p:xfrm>
          <a:off x="1010611" y="1540778"/>
          <a:ext cx="3352159" cy="223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84" name="Group 2083">
            <a:extLst>
              <a:ext uri="{FF2B5EF4-FFF2-40B4-BE49-F238E27FC236}">
                <a16:creationId xmlns:a16="http://schemas.microsoft.com/office/drawing/2014/main" id="{07EEC5AD-29D7-0AE8-E4F6-083C541AB6A1}"/>
              </a:ext>
            </a:extLst>
          </p:cNvPr>
          <p:cNvGrpSpPr/>
          <p:nvPr/>
        </p:nvGrpSpPr>
        <p:grpSpPr>
          <a:xfrm>
            <a:off x="2424841" y="3342279"/>
            <a:ext cx="371707" cy="371707"/>
            <a:chOff x="2424841" y="3342279"/>
            <a:chExt cx="371707" cy="37170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6111451-2E72-3C75-83D5-82D7E661F026}"/>
                </a:ext>
              </a:extLst>
            </p:cNvPr>
            <p:cNvSpPr/>
            <p:nvPr/>
          </p:nvSpPr>
          <p:spPr>
            <a:xfrm>
              <a:off x="2424841" y="334227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61" name="Group 1091">
              <a:extLst>
                <a:ext uri="{FF2B5EF4-FFF2-40B4-BE49-F238E27FC236}">
                  <a16:creationId xmlns:a16="http://schemas.microsoft.com/office/drawing/2014/main" id="{6513DB79-49F3-4C65-E345-C19B03339E2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8826" y="3412186"/>
              <a:ext cx="171501" cy="231115"/>
              <a:chOff x="3571" y="2324"/>
              <a:chExt cx="187" cy="252"/>
            </a:xfrm>
            <a:solidFill>
              <a:schemeClr val="accent3"/>
            </a:solidFill>
          </p:grpSpPr>
          <p:sp>
            <p:nvSpPr>
              <p:cNvPr id="62" name="Freeform 1092">
                <a:extLst>
                  <a:ext uri="{FF2B5EF4-FFF2-40B4-BE49-F238E27FC236}">
                    <a16:creationId xmlns:a16="http://schemas.microsoft.com/office/drawing/2014/main" id="{36108951-94FF-BBE8-70EA-FC1B63E0A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" y="2348"/>
                <a:ext cx="13" cy="7"/>
              </a:xfrm>
              <a:custGeom>
                <a:avLst/>
                <a:gdLst>
                  <a:gd name="T0" fmla="*/ 18 w 18"/>
                  <a:gd name="T1" fmla="*/ 0 h 10"/>
                  <a:gd name="T2" fmla="*/ 0 w 18"/>
                  <a:gd name="T3" fmla="*/ 3 h 10"/>
                  <a:gd name="T4" fmla="*/ 18 w 18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18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6" y="7"/>
                      <a:pt x="18" y="10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63" name="Freeform 1093">
                <a:extLst>
                  <a:ext uri="{FF2B5EF4-FFF2-40B4-BE49-F238E27FC236}">
                    <a16:creationId xmlns:a16="http://schemas.microsoft.com/office/drawing/2014/main" id="{1F928CC8-926E-5B2A-AFA7-ADF7C635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359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8" name="Freeform 1094">
                <a:extLst>
                  <a:ext uri="{FF2B5EF4-FFF2-40B4-BE49-F238E27FC236}">
                    <a16:creationId xmlns:a16="http://schemas.microsoft.com/office/drawing/2014/main" id="{92BAABA8-68E0-5CA2-AD6F-CCDB5B21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336"/>
                <a:ext cx="13" cy="5"/>
              </a:xfrm>
              <a:custGeom>
                <a:avLst/>
                <a:gdLst>
                  <a:gd name="T0" fmla="*/ 0 w 18"/>
                  <a:gd name="T1" fmla="*/ 7 h 7"/>
                  <a:gd name="T2" fmla="*/ 18 w 18"/>
                  <a:gd name="T3" fmla="*/ 4 h 7"/>
                  <a:gd name="T4" fmla="*/ 0 w 1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7">
                    <a:moveTo>
                      <a:pt x="0" y="7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1" y="2"/>
                      <a:pt x="5" y="0"/>
                      <a:pt x="0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9" name="Freeform 1095">
                <a:extLst>
                  <a:ext uri="{FF2B5EF4-FFF2-40B4-BE49-F238E27FC236}">
                    <a16:creationId xmlns:a16="http://schemas.microsoft.com/office/drawing/2014/main" id="{B6C55D51-AFB4-A898-D1A5-59A2C8FD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324"/>
                <a:ext cx="187" cy="252"/>
              </a:xfrm>
              <a:custGeom>
                <a:avLst/>
                <a:gdLst>
                  <a:gd name="T0" fmla="*/ 111 w 256"/>
                  <a:gd name="T1" fmla="*/ 195 h 347"/>
                  <a:gd name="T2" fmla="*/ 136 w 256"/>
                  <a:gd name="T3" fmla="*/ 270 h 347"/>
                  <a:gd name="T4" fmla="*/ 136 w 256"/>
                  <a:gd name="T5" fmla="*/ 298 h 347"/>
                  <a:gd name="T6" fmla="*/ 124 w 256"/>
                  <a:gd name="T7" fmla="*/ 288 h 347"/>
                  <a:gd name="T8" fmla="*/ 83 w 256"/>
                  <a:gd name="T9" fmla="*/ 241 h 347"/>
                  <a:gd name="T10" fmla="*/ 114 w 256"/>
                  <a:gd name="T11" fmla="*/ 264 h 347"/>
                  <a:gd name="T12" fmla="*/ 94 w 256"/>
                  <a:gd name="T13" fmla="*/ 161 h 347"/>
                  <a:gd name="T14" fmla="*/ 136 w 256"/>
                  <a:gd name="T15" fmla="*/ 149 h 347"/>
                  <a:gd name="T16" fmla="*/ 171 w 256"/>
                  <a:gd name="T17" fmla="*/ 189 h 347"/>
                  <a:gd name="T18" fmla="*/ 155 w 256"/>
                  <a:gd name="T19" fmla="*/ 211 h 347"/>
                  <a:gd name="T20" fmla="*/ 184 w 256"/>
                  <a:gd name="T21" fmla="*/ 80 h 347"/>
                  <a:gd name="T22" fmla="*/ 169 w 256"/>
                  <a:gd name="T23" fmla="*/ 89 h 347"/>
                  <a:gd name="T24" fmla="*/ 189 w 256"/>
                  <a:gd name="T25" fmla="*/ 37 h 347"/>
                  <a:gd name="T26" fmla="*/ 194 w 256"/>
                  <a:gd name="T27" fmla="*/ 46 h 347"/>
                  <a:gd name="T28" fmla="*/ 198 w 256"/>
                  <a:gd name="T29" fmla="*/ 60 h 347"/>
                  <a:gd name="T30" fmla="*/ 213 w 256"/>
                  <a:gd name="T31" fmla="*/ 63 h 347"/>
                  <a:gd name="T32" fmla="*/ 215 w 256"/>
                  <a:gd name="T33" fmla="*/ 68 h 347"/>
                  <a:gd name="T34" fmla="*/ 155 w 256"/>
                  <a:gd name="T35" fmla="*/ 58 h 347"/>
                  <a:gd name="T36" fmla="*/ 113 w 256"/>
                  <a:gd name="T37" fmla="*/ 51 h 347"/>
                  <a:gd name="T38" fmla="*/ 81 w 256"/>
                  <a:gd name="T39" fmla="*/ 24 h 347"/>
                  <a:gd name="T40" fmla="*/ 75 w 256"/>
                  <a:gd name="T41" fmla="*/ 32 h 347"/>
                  <a:gd name="T42" fmla="*/ 65 w 256"/>
                  <a:gd name="T43" fmla="*/ 29 h 347"/>
                  <a:gd name="T44" fmla="*/ 68 w 256"/>
                  <a:gd name="T45" fmla="*/ 45 h 347"/>
                  <a:gd name="T46" fmla="*/ 64 w 256"/>
                  <a:gd name="T47" fmla="*/ 54 h 347"/>
                  <a:gd name="T48" fmla="*/ 37 w 256"/>
                  <a:gd name="T49" fmla="*/ 64 h 347"/>
                  <a:gd name="T50" fmla="*/ 68 w 256"/>
                  <a:gd name="T51" fmla="*/ 65 h 347"/>
                  <a:gd name="T52" fmla="*/ 69 w 256"/>
                  <a:gd name="T53" fmla="*/ 66 h 347"/>
                  <a:gd name="T54" fmla="*/ 80 w 256"/>
                  <a:gd name="T55" fmla="*/ 75 h 347"/>
                  <a:gd name="T56" fmla="*/ 96 w 256"/>
                  <a:gd name="T57" fmla="*/ 87 h 347"/>
                  <a:gd name="T58" fmla="*/ 102 w 256"/>
                  <a:gd name="T59" fmla="*/ 81 h 347"/>
                  <a:gd name="T60" fmla="*/ 78 w 256"/>
                  <a:gd name="T61" fmla="*/ 58 h 347"/>
                  <a:gd name="T62" fmla="*/ 86 w 256"/>
                  <a:gd name="T63" fmla="*/ 44 h 347"/>
                  <a:gd name="T64" fmla="*/ 98 w 256"/>
                  <a:gd name="T65" fmla="*/ 55 h 347"/>
                  <a:gd name="T66" fmla="*/ 91 w 256"/>
                  <a:gd name="T67" fmla="*/ 57 h 347"/>
                  <a:gd name="T68" fmla="*/ 88 w 256"/>
                  <a:gd name="T69" fmla="*/ 54 h 347"/>
                  <a:gd name="T70" fmla="*/ 121 w 256"/>
                  <a:gd name="T71" fmla="*/ 80 h 347"/>
                  <a:gd name="T72" fmla="*/ 168 w 256"/>
                  <a:gd name="T73" fmla="*/ 64 h 347"/>
                  <a:gd name="T74" fmla="*/ 155 w 256"/>
                  <a:gd name="T75" fmla="*/ 63 h 347"/>
                  <a:gd name="T76" fmla="*/ 151 w 256"/>
                  <a:gd name="T77" fmla="*/ 91 h 347"/>
                  <a:gd name="T78" fmla="*/ 151 w 256"/>
                  <a:gd name="T79" fmla="*/ 91 h 347"/>
                  <a:gd name="T80" fmla="*/ 158 w 256"/>
                  <a:gd name="T81" fmla="*/ 78 h 347"/>
                  <a:gd name="T82" fmla="*/ 171 w 256"/>
                  <a:gd name="T83" fmla="*/ 79 h 347"/>
                  <a:gd name="T84" fmla="*/ 119 w 256"/>
                  <a:gd name="T85" fmla="*/ 90 h 347"/>
                  <a:gd name="T86" fmla="*/ 127 w 256"/>
                  <a:gd name="T87" fmla="*/ 78 h 347"/>
                  <a:gd name="T88" fmla="*/ 254 w 256"/>
                  <a:gd name="T89" fmla="*/ 318 h 347"/>
                  <a:gd name="T90" fmla="*/ 239 w 256"/>
                  <a:gd name="T91" fmla="*/ 115 h 347"/>
                  <a:gd name="T92" fmla="*/ 235 w 256"/>
                  <a:gd name="T93" fmla="*/ 65 h 347"/>
                  <a:gd name="T94" fmla="*/ 216 w 256"/>
                  <a:gd name="T95" fmla="*/ 49 h 347"/>
                  <a:gd name="T96" fmla="*/ 211 w 256"/>
                  <a:gd name="T97" fmla="*/ 22 h 347"/>
                  <a:gd name="T98" fmla="*/ 138 w 256"/>
                  <a:gd name="T99" fmla="*/ 43 h 347"/>
                  <a:gd name="T100" fmla="*/ 60 w 256"/>
                  <a:gd name="T101" fmla="*/ 5 h 347"/>
                  <a:gd name="T102" fmla="*/ 49 w 256"/>
                  <a:gd name="T103" fmla="*/ 28 h 347"/>
                  <a:gd name="T104" fmla="*/ 46 w 256"/>
                  <a:gd name="T105" fmla="*/ 45 h 347"/>
                  <a:gd name="T106" fmla="*/ 13 w 256"/>
                  <a:gd name="T107" fmla="*/ 31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6" h="347">
                    <a:moveTo>
                      <a:pt x="111" y="195"/>
                    </a:moveTo>
                    <a:cubicBezTo>
                      <a:pt x="115" y="198"/>
                      <a:pt x="119" y="201"/>
                      <a:pt x="124" y="202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19" y="168"/>
                      <a:pt x="115" y="170"/>
                      <a:pt x="111" y="173"/>
                    </a:cubicBezTo>
                    <a:cubicBezTo>
                      <a:pt x="105" y="179"/>
                      <a:pt x="105" y="189"/>
                      <a:pt x="111" y="195"/>
                    </a:cubicBezTo>
                    <a:moveTo>
                      <a:pt x="151" y="262"/>
                    </a:moveTo>
                    <a:cubicBezTo>
                      <a:pt x="154" y="259"/>
                      <a:pt x="156" y="254"/>
                      <a:pt x="156" y="249"/>
                    </a:cubicBezTo>
                    <a:cubicBezTo>
                      <a:pt x="156" y="245"/>
                      <a:pt x="154" y="240"/>
                      <a:pt x="151" y="237"/>
                    </a:cubicBezTo>
                    <a:cubicBezTo>
                      <a:pt x="146" y="233"/>
                      <a:pt x="141" y="231"/>
                      <a:pt x="136" y="229"/>
                    </a:cubicBezTo>
                    <a:cubicBezTo>
                      <a:pt x="136" y="270"/>
                      <a:pt x="136" y="270"/>
                      <a:pt x="136" y="270"/>
                    </a:cubicBezTo>
                    <a:cubicBezTo>
                      <a:pt x="141" y="269"/>
                      <a:pt x="147" y="266"/>
                      <a:pt x="151" y="262"/>
                    </a:cubicBezTo>
                    <a:moveTo>
                      <a:pt x="179" y="246"/>
                    </a:moveTo>
                    <a:cubicBezTo>
                      <a:pt x="179" y="261"/>
                      <a:pt x="172" y="274"/>
                      <a:pt x="159" y="281"/>
                    </a:cubicBezTo>
                    <a:cubicBezTo>
                      <a:pt x="152" y="285"/>
                      <a:pt x="144" y="288"/>
                      <a:pt x="136" y="288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6" y="300"/>
                      <a:pt x="136" y="303"/>
                      <a:pt x="135" y="306"/>
                    </a:cubicBezTo>
                    <a:cubicBezTo>
                      <a:pt x="134" y="307"/>
                      <a:pt x="132" y="308"/>
                      <a:pt x="130" y="308"/>
                    </a:cubicBezTo>
                    <a:cubicBezTo>
                      <a:pt x="128" y="308"/>
                      <a:pt x="126" y="308"/>
                      <a:pt x="125" y="306"/>
                    </a:cubicBezTo>
                    <a:cubicBezTo>
                      <a:pt x="124" y="304"/>
                      <a:pt x="124" y="302"/>
                      <a:pt x="124" y="300"/>
                    </a:cubicBezTo>
                    <a:cubicBezTo>
                      <a:pt x="124" y="288"/>
                      <a:pt x="124" y="288"/>
                      <a:pt x="124" y="288"/>
                    </a:cubicBezTo>
                    <a:cubicBezTo>
                      <a:pt x="117" y="287"/>
                      <a:pt x="110" y="286"/>
                      <a:pt x="104" y="283"/>
                    </a:cubicBezTo>
                    <a:cubicBezTo>
                      <a:pt x="99" y="281"/>
                      <a:pt x="94" y="277"/>
                      <a:pt x="90" y="273"/>
                    </a:cubicBezTo>
                    <a:cubicBezTo>
                      <a:pt x="87" y="270"/>
                      <a:pt x="84" y="266"/>
                      <a:pt x="82" y="261"/>
                    </a:cubicBezTo>
                    <a:cubicBezTo>
                      <a:pt x="81" y="257"/>
                      <a:pt x="80" y="253"/>
                      <a:pt x="80" y="249"/>
                    </a:cubicBezTo>
                    <a:cubicBezTo>
                      <a:pt x="80" y="246"/>
                      <a:pt x="81" y="243"/>
                      <a:pt x="83" y="241"/>
                    </a:cubicBezTo>
                    <a:cubicBezTo>
                      <a:pt x="86" y="239"/>
                      <a:pt x="89" y="237"/>
                      <a:pt x="92" y="238"/>
                    </a:cubicBezTo>
                    <a:cubicBezTo>
                      <a:pt x="95" y="237"/>
                      <a:pt x="97" y="238"/>
                      <a:pt x="99" y="239"/>
                    </a:cubicBezTo>
                    <a:cubicBezTo>
                      <a:pt x="101" y="241"/>
                      <a:pt x="103" y="243"/>
                      <a:pt x="103" y="245"/>
                    </a:cubicBezTo>
                    <a:cubicBezTo>
                      <a:pt x="105" y="249"/>
                      <a:pt x="106" y="253"/>
                      <a:pt x="108" y="257"/>
                    </a:cubicBezTo>
                    <a:cubicBezTo>
                      <a:pt x="109" y="259"/>
                      <a:pt x="111" y="262"/>
                      <a:pt x="114" y="264"/>
                    </a:cubicBezTo>
                    <a:cubicBezTo>
                      <a:pt x="117" y="266"/>
                      <a:pt x="120" y="268"/>
                      <a:pt x="124" y="269"/>
                    </a:cubicBezTo>
                    <a:cubicBezTo>
                      <a:pt x="124" y="226"/>
                      <a:pt x="124" y="226"/>
                      <a:pt x="124" y="226"/>
                    </a:cubicBezTo>
                    <a:cubicBezTo>
                      <a:pt x="116" y="224"/>
                      <a:pt x="109" y="222"/>
                      <a:pt x="102" y="218"/>
                    </a:cubicBezTo>
                    <a:cubicBezTo>
                      <a:pt x="97" y="216"/>
                      <a:pt x="92" y="212"/>
                      <a:pt x="89" y="206"/>
                    </a:cubicBezTo>
                    <a:cubicBezTo>
                      <a:pt x="80" y="192"/>
                      <a:pt x="82" y="173"/>
                      <a:pt x="94" y="161"/>
                    </a:cubicBezTo>
                    <a:cubicBezTo>
                      <a:pt x="101" y="154"/>
                      <a:pt x="111" y="150"/>
                      <a:pt x="124" y="149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4" y="134"/>
                      <a:pt x="126" y="131"/>
                      <a:pt x="130" y="131"/>
                    </a:cubicBezTo>
                    <a:cubicBezTo>
                      <a:pt x="134" y="131"/>
                      <a:pt x="136" y="134"/>
                      <a:pt x="136" y="139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42" y="149"/>
                      <a:pt x="148" y="151"/>
                      <a:pt x="153" y="153"/>
                    </a:cubicBezTo>
                    <a:cubicBezTo>
                      <a:pt x="158" y="155"/>
                      <a:pt x="162" y="158"/>
                      <a:pt x="166" y="162"/>
                    </a:cubicBezTo>
                    <a:cubicBezTo>
                      <a:pt x="169" y="165"/>
                      <a:pt x="171" y="168"/>
                      <a:pt x="173" y="172"/>
                    </a:cubicBezTo>
                    <a:cubicBezTo>
                      <a:pt x="174" y="175"/>
                      <a:pt x="175" y="178"/>
                      <a:pt x="175" y="181"/>
                    </a:cubicBezTo>
                    <a:cubicBezTo>
                      <a:pt x="175" y="184"/>
                      <a:pt x="174" y="187"/>
                      <a:pt x="171" y="189"/>
                    </a:cubicBezTo>
                    <a:cubicBezTo>
                      <a:pt x="169" y="191"/>
                      <a:pt x="166" y="192"/>
                      <a:pt x="163" y="192"/>
                    </a:cubicBezTo>
                    <a:cubicBezTo>
                      <a:pt x="157" y="192"/>
                      <a:pt x="152" y="188"/>
                      <a:pt x="151" y="182"/>
                    </a:cubicBezTo>
                    <a:cubicBezTo>
                      <a:pt x="149" y="175"/>
                      <a:pt x="143" y="169"/>
                      <a:pt x="136" y="167"/>
                    </a:cubicBezTo>
                    <a:cubicBezTo>
                      <a:pt x="136" y="205"/>
                      <a:pt x="136" y="205"/>
                      <a:pt x="136" y="205"/>
                    </a:cubicBezTo>
                    <a:cubicBezTo>
                      <a:pt x="144" y="208"/>
                      <a:pt x="150" y="209"/>
                      <a:pt x="155" y="211"/>
                    </a:cubicBezTo>
                    <a:cubicBezTo>
                      <a:pt x="159" y="213"/>
                      <a:pt x="163" y="215"/>
                      <a:pt x="167" y="219"/>
                    </a:cubicBezTo>
                    <a:cubicBezTo>
                      <a:pt x="171" y="222"/>
                      <a:pt x="174" y="226"/>
                      <a:pt x="176" y="231"/>
                    </a:cubicBezTo>
                    <a:cubicBezTo>
                      <a:pt x="178" y="236"/>
                      <a:pt x="179" y="241"/>
                      <a:pt x="179" y="246"/>
                    </a:cubicBezTo>
                    <a:moveTo>
                      <a:pt x="169" y="89"/>
                    </a:moveTo>
                    <a:cubicBezTo>
                      <a:pt x="174" y="86"/>
                      <a:pt x="179" y="83"/>
                      <a:pt x="184" y="80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lnTo>
                      <a:pt x="169" y="89"/>
                    </a:lnTo>
                    <a:close/>
                    <a:moveTo>
                      <a:pt x="189" y="37"/>
                    </a:moveTo>
                    <a:cubicBezTo>
                      <a:pt x="167" y="29"/>
                      <a:pt x="167" y="29"/>
                      <a:pt x="167" y="29"/>
                    </a:cubicBezTo>
                    <a:cubicBezTo>
                      <a:pt x="171" y="26"/>
                      <a:pt x="176" y="22"/>
                      <a:pt x="180" y="17"/>
                    </a:cubicBezTo>
                    <a:cubicBezTo>
                      <a:pt x="203" y="24"/>
                      <a:pt x="203" y="24"/>
                      <a:pt x="203" y="24"/>
                    </a:cubicBezTo>
                    <a:cubicBezTo>
                      <a:pt x="198" y="29"/>
                      <a:pt x="194" y="33"/>
                      <a:pt x="189" y="37"/>
                    </a:cubicBezTo>
                    <a:moveTo>
                      <a:pt x="192" y="40"/>
                    </a:moveTo>
                    <a:cubicBezTo>
                      <a:pt x="197" y="35"/>
                      <a:pt x="202" y="31"/>
                      <a:pt x="207" y="26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04" y="37"/>
                      <a:pt x="200" y="41"/>
                      <a:pt x="195" y="44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2" y="40"/>
                    </a:lnTo>
                    <a:close/>
                    <a:moveTo>
                      <a:pt x="195" y="55"/>
                    </a:moveTo>
                    <a:cubicBezTo>
                      <a:pt x="200" y="51"/>
                      <a:pt x="205" y="46"/>
                      <a:pt x="210" y="41"/>
                    </a:cubicBezTo>
                    <a:cubicBezTo>
                      <a:pt x="211" y="48"/>
                      <a:pt x="211" y="48"/>
                      <a:pt x="211" y="48"/>
                    </a:cubicBezTo>
                    <a:cubicBezTo>
                      <a:pt x="207" y="52"/>
                      <a:pt x="202" y="56"/>
                      <a:pt x="198" y="60"/>
                    </a:cubicBezTo>
                    <a:cubicBezTo>
                      <a:pt x="196" y="61"/>
                      <a:pt x="196" y="61"/>
                      <a:pt x="196" y="61"/>
                    </a:cubicBezTo>
                    <a:lnTo>
                      <a:pt x="195" y="55"/>
                    </a:lnTo>
                    <a:close/>
                    <a:moveTo>
                      <a:pt x="196" y="71"/>
                    </a:moveTo>
                    <a:cubicBezTo>
                      <a:pt x="201" y="67"/>
                      <a:pt x="207" y="61"/>
                      <a:pt x="212" y="57"/>
                    </a:cubicBezTo>
                    <a:cubicBezTo>
                      <a:pt x="213" y="63"/>
                      <a:pt x="213" y="63"/>
                      <a:pt x="213" y="63"/>
                    </a:cubicBezTo>
                    <a:cubicBezTo>
                      <a:pt x="209" y="67"/>
                      <a:pt x="204" y="71"/>
                      <a:pt x="200" y="75"/>
                    </a:cubicBezTo>
                    <a:cubicBezTo>
                      <a:pt x="198" y="76"/>
                      <a:pt x="198" y="76"/>
                      <a:pt x="198" y="76"/>
                    </a:cubicBezTo>
                    <a:lnTo>
                      <a:pt x="196" y="71"/>
                    </a:lnTo>
                    <a:close/>
                    <a:moveTo>
                      <a:pt x="204" y="77"/>
                    </a:moveTo>
                    <a:cubicBezTo>
                      <a:pt x="208" y="74"/>
                      <a:pt x="212" y="71"/>
                      <a:pt x="215" y="68"/>
                    </a:cubicBezTo>
                    <a:cubicBezTo>
                      <a:pt x="218" y="69"/>
                      <a:pt x="220" y="70"/>
                      <a:pt x="222" y="70"/>
                    </a:cubicBezTo>
                    <a:cubicBezTo>
                      <a:pt x="217" y="74"/>
                      <a:pt x="211" y="76"/>
                      <a:pt x="204" y="77"/>
                    </a:cubicBezTo>
                    <a:moveTo>
                      <a:pt x="154" y="38"/>
                    </a:moveTo>
                    <a:cubicBezTo>
                      <a:pt x="176" y="46"/>
                      <a:pt x="176" y="46"/>
                      <a:pt x="176" y="46"/>
                    </a:cubicBezTo>
                    <a:cubicBezTo>
                      <a:pt x="170" y="50"/>
                      <a:pt x="162" y="54"/>
                      <a:pt x="155" y="58"/>
                    </a:cubicBezTo>
                    <a:cubicBezTo>
                      <a:pt x="133" y="51"/>
                      <a:pt x="133" y="51"/>
                      <a:pt x="133" y="51"/>
                    </a:cubicBezTo>
                    <a:cubicBezTo>
                      <a:pt x="140" y="47"/>
                      <a:pt x="147" y="43"/>
                      <a:pt x="154" y="38"/>
                    </a:cubicBezTo>
                    <a:moveTo>
                      <a:pt x="133" y="46"/>
                    </a:moveTo>
                    <a:cubicBezTo>
                      <a:pt x="127" y="49"/>
                      <a:pt x="127" y="49"/>
                      <a:pt x="127" y="49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06" y="46"/>
                      <a:pt x="99" y="41"/>
                      <a:pt x="92" y="3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22" y="36"/>
                      <a:pt x="128" y="41"/>
                      <a:pt x="134" y="46"/>
                    </a:cubicBezTo>
                    <a:moveTo>
                      <a:pt x="105" y="20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77" y="19"/>
                      <a:pt x="72" y="14"/>
                      <a:pt x="69" y="9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7" y="11"/>
                      <a:pt x="101" y="16"/>
                      <a:pt x="105" y="20"/>
                    </a:cubicBezTo>
                    <a:moveTo>
                      <a:pt x="77" y="27"/>
                    </a:moveTo>
                    <a:cubicBezTo>
                      <a:pt x="75" y="32"/>
                      <a:pt x="75" y="32"/>
                      <a:pt x="75" y="32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69" y="26"/>
                      <a:pt x="65" y="22"/>
                      <a:pt x="61" y="17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8" y="16"/>
                      <a:pt x="72" y="21"/>
                      <a:pt x="77" y="27"/>
                    </a:cubicBezTo>
                    <a:moveTo>
                      <a:pt x="65" y="29"/>
                    </a:moveTo>
                    <a:cubicBezTo>
                      <a:pt x="68" y="33"/>
                      <a:pt x="71" y="37"/>
                      <a:pt x="74" y="40"/>
                    </a:cubicBezTo>
                    <a:cubicBezTo>
                      <a:pt x="73" y="41"/>
                      <a:pt x="73" y="42"/>
                      <a:pt x="72" y="43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4" y="41"/>
                      <a:pt x="59" y="37"/>
                      <a:pt x="54" y="32"/>
                    </a:cubicBezTo>
                    <a:lnTo>
                      <a:pt x="65" y="29"/>
                    </a:lnTo>
                    <a:close/>
                    <a:moveTo>
                      <a:pt x="50" y="34"/>
                    </a:moveTo>
                    <a:cubicBezTo>
                      <a:pt x="55" y="39"/>
                      <a:pt x="60" y="44"/>
                      <a:pt x="65" y="48"/>
                    </a:cubicBezTo>
                    <a:cubicBezTo>
                      <a:pt x="64" y="54"/>
                      <a:pt x="64" y="54"/>
                      <a:pt x="64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57" y="49"/>
                      <a:pt x="52" y="45"/>
                      <a:pt x="48" y="40"/>
                    </a:cubicBezTo>
                    <a:lnTo>
                      <a:pt x="50" y="34"/>
                    </a:lnTo>
                    <a:close/>
                    <a:moveTo>
                      <a:pt x="53" y="53"/>
                    </a:moveTo>
                    <a:cubicBezTo>
                      <a:pt x="37" y="64"/>
                      <a:pt x="37" y="64"/>
                      <a:pt x="37" y="64"/>
                    </a:cubicBezTo>
                    <a:cubicBezTo>
                      <a:pt x="33" y="62"/>
                      <a:pt x="33" y="62"/>
                      <a:pt x="33" y="62"/>
                    </a:cubicBezTo>
                    <a:lnTo>
                      <a:pt x="53" y="53"/>
                    </a:lnTo>
                    <a:close/>
                    <a:moveTo>
                      <a:pt x="42" y="66"/>
                    </a:moveTo>
                    <a:cubicBezTo>
                      <a:pt x="57" y="56"/>
                      <a:pt x="57" y="56"/>
                      <a:pt x="57" y="56"/>
                    </a:cubicBezTo>
                    <a:cubicBezTo>
                      <a:pt x="60" y="59"/>
                      <a:pt x="64" y="62"/>
                      <a:pt x="68" y="65"/>
                    </a:cubicBezTo>
                    <a:cubicBezTo>
                      <a:pt x="63" y="66"/>
                      <a:pt x="59" y="69"/>
                      <a:pt x="57" y="73"/>
                    </a:cubicBezTo>
                    <a:cubicBezTo>
                      <a:pt x="52" y="70"/>
                      <a:pt x="46" y="68"/>
                      <a:pt x="43" y="66"/>
                    </a:cubicBezTo>
                    <a:lnTo>
                      <a:pt x="42" y="66"/>
                    </a:lnTo>
                    <a:close/>
                    <a:moveTo>
                      <a:pt x="58" y="74"/>
                    </a:move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59" y="74"/>
                      <a:pt x="59" y="74"/>
                      <a:pt x="59" y="74"/>
                    </a:cubicBezTo>
                    <a:lnTo>
                      <a:pt x="58" y="74"/>
                    </a:lnTo>
                    <a:close/>
                    <a:moveTo>
                      <a:pt x="72" y="80"/>
                    </a:moveTo>
                    <a:cubicBezTo>
                      <a:pt x="80" y="75"/>
                      <a:pt x="80" y="75"/>
                      <a:pt x="80" y="75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2" y="80"/>
                      <a:pt x="72" y="80"/>
                      <a:pt x="72" y="80"/>
                    </a:cubicBezTo>
                    <a:moveTo>
                      <a:pt x="98" y="85"/>
                    </a:moveTo>
                    <a:cubicBezTo>
                      <a:pt x="96" y="87"/>
                      <a:pt x="96" y="87"/>
                      <a:pt x="96" y="87"/>
                    </a:cubicBezTo>
                    <a:cubicBezTo>
                      <a:pt x="90" y="86"/>
                      <a:pt x="85" y="85"/>
                      <a:pt x="80" y="84"/>
                    </a:cubicBezTo>
                    <a:cubicBezTo>
                      <a:pt x="75" y="82"/>
                      <a:pt x="75" y="82"/>
                      <a:pt x="75" y="82"/>
                    </a:cubicBezTo>
                    <a:cubicBezTo>
                      <a:pt x="79" y="82"/>
                      <a:pt x="83" y="81"/>
                      <a:pt x="86" y="79"/>
                    </a:cubicBezTo>
                    <a:cubicBezTo>
                      <a:pt x="90" y="81"/>
                      <a:pt x="94" y="83"/>
                      <a:pt x="98" y="85"/>
                    </a:cubicBezTo>
                    <a:moveTo>
                      <a:pt x="102" y="81"/>
                    </a:moveTo>
                    <a:cubicBezTo>
                      <a:pt x="98" y="79"/>
                      <a:pt x="94" y="77"/>
                      <a:pt x="90" y="74"/>
                    </a:cubicBezTo>
                    <a:cubicBezTo>
                      <a:pt x="85" y="72"/>
                      <a:pt x="81" y="69"/>
                      <a:pt x="77" y="65"/>
                    </a:cubicBezTo>
                    <a:cubicBezTo>
                      <a:pt x="77" y="65"/>
                      <a:pt x="77" y="65"/>
                      <a:pt x="77" y="65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86" y="64"/>
                      <a:pt x="94" y="69"/>
                      <a:pt x="103" y="73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4" y="73"/>
                      <a:pt x="104" y="73"/>
                      <a:pt x="104" y="73"/>
                    </a:cubicBezTo>
                    <a:lnTo>
                      <a:pt x="102" y="81"/>
                    </a:lnTo>
                    <a:close/>
                    <a:moveTo>
                      <a:pt x="86" y="44"/>
                    </a:moveTo>
                    <a:cubicBezTo>
                      <a:pt x="88" y="38"/>
                      <a:pt x="88" y="38"/>
                      <a:pt x="88" y="38"/>
                    </a:cubicBezTo>
                    <a:cubicBezTo>
                      <a:pt x="95" y="45"/>
                      <a:pt x="103" y="51"/>
                      <a:pt x="111" y="56"/>
                    </a:cubicBezTo>
                    <a:cubicBezTo>
                      <a:pt x="112" y="56"/>
                      <a:pt x="112" y="56"/>
                      <a:pt x="112" y="56"/>
                    </a:cubicBezTo>
                    <a:cubicBezTo>
                      <a:pt x="109" y="63"/>
                      <a:pt x="109" y="63"/>
                      <a:pt x="109" y="63"/>
                    </a:cubicBezTo>
                    <a:cubicBezTo>
                      <a:pt x="105" y="61"/>
                      <a:pt x="102" y="58"/>
                      <a:pt x="98" y="55"/>
                    </a:cubicBezTo>
                    <a:cubicBezTo>
                      <a:pt x="94" y="52"/>
                      <a:pt x="90" y="49"/>
                      <a:pt x="87" y="45"/>
                    </a:cubicBezTo>
                    <a:cubicBezTo>
                      <a:pt x="87" y="45"/>
                      <a:pt x="87" y="45"/>
                      <a:pt x="87" y="45"/>
                    </a:cubicBezTo>
                    <a:lnTo>
                      <a:pt x="86" y="44"/>
                    </a:lnTo>
                    <a:close/>
                    <a:moveTo>
                      <a:pt x="86" y="55"/>
                    </a:moveTo>
                    <a:cubicBezTo>
                      <a:pt x="87" y="56"/>
                      <a:pt x="89" y="57"/>
                      <a:pt x="91" y="57"/>
                    </a:cubicBezTo>
                    <a:cubicBezTo>
                      <a:pt x="96" y="61"/>
                      <a:pt x="100" y="64"/>
                      <a:pt x="105" y="68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96" y="64"/>
                      <a:pt x="88" y="60"/>
                      <a:pt x="81" y="55"/>
                    </a:cubicBezTo>
                    <a:cubicBezTo>
                      <a:pt x="87" y="53"/>
                      <a:pt x="87" y="53"/>
                      <a:pt x="87" y="53"/>
                    </a:cubicBezTo>
                    <a:cubicBezTo>
                      <a:pt x="88" y="54"/>
                      <a:pt x="88" y="54"/>
                      <a:pt x="88" y="54"/>
                    </a:cubicBezTo>
                    <a:lnTo>
                      <a:pt x="86" y="55"/>
                    </a:lnTo>
                    <a:close/>
                    <a:moveTo>
                      <a:pt x="111" y="89"/>
                    </a:moveTo>
                    <a:cubicBezTo>
                      <a:pt x="108" y="89"/>
                      <a:pt x="105" y="89"/>
                      <a:pt x="102" y="88"/>
                    </a:cubicBezTo>
                    <a:cubicBezTo>
                      <a:pt x="106" y="85"/>
                      <a:pt x="106" y="85"/>
                      <a:pt x="106" y="85"/>
                    </a:cubicBezTo>
                    <a:cubicBezTo>
                      <a:pt x="111" y="84"/>
                      <a:pt x="116" y="82"/>
                      <a:pt x="121" y="80"/>
                    </a:cubicBezTo>
                    <a:cubicBezTo>
                      <a:pt x="121" y="82"/>
                      <a:pt x="121" y="82"/>
                      <a:pt x="121" y="82"/>
                    </a:cubicBezTo>
                    <a:lnTo>
                      <a:pt x="111" y="89"/>
                    </a:lnTo>
                    <a:close/>
                    <a:moveTo>
                      <a:pt x="180" y="56"/>
                    </a:moveTo>
                    <a:cubicBezTo>
                      <a:pt x="180" y="56"/>
                      <a:pt x="180" y="56"/>
                      <a:pt x="180" y="56"/>
                    </a:cubicBezTo>
                    <a:cubicBezTo>
                      <a:pt x="177" y="59"/>
                      <a:pt x="173" y="62"/>
                      <a:pt x="168" y="64"/>
                    </a:cubicBezTo>
                    <a:cubicBezTo>
                      <a:pt x="164" y="66"/>
                      <a:pt x="160" y="68"/>
                      <a:pt x="156" y="70"/>
                    </a:cubicBezTo>
                    <a:cubicBezTo>
                      <a:pt x="128" y="60"/>
                      <a:pt x="128" y="60"/>
                      <a:pt x="128" y="60"/>
                    </a:cubicBezTo>
                    <a:cubicBezTo>
                      <a:pt x="127" y="54"/>
                      <a:pt x="127" y="54"/>
                      <a:pt x="127" y="54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64" y="58"/>
                      <a:pt x="172" y="54"/>
                      <a:pt x="180" y="49"/>
                    </a:cubicBezTo>
                    <a:cubicBezTo>
                      <a:pt x="181" y="55"/>
                      <a:pt x="181" y="55"/>
                      <a:pt x="181" y="55"/>
                    </a:cubicBezTo>
                    <a:lnTo>
                      <a:pt x="180" y="56"/>
                    </a:lnTo>
                    <a:close/>
                    <a:moveTo>
                      <a:pt x="151" y="91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34" y="91"/>
                      <a:pt x="134" y="91"/>
                      <a:pt x="134" y="91"/>
                    </a:cubicBezTo>
                    <a:cubicBezTo>
                      <a:pt x="133" y="91"/>
                      <a:pt x="133" y="91"/>
                      <a:pt x="133" y="91"/>
                    </a:cubicBezTo>
                    <a:cubicBezTo>
                      <a:pt x="132" y="85"/>
                      <a:pt x="132" y="85"/>
                      <a:pt x="132" y="85"/>
                    </a:cubicBezTo>
                    <a:lnTo>
                      <a:pt x="151" y="91"/>
                    </a:lnTo>
                    <a:close/>
                    <a:moveTo>
                      <a:pt x="131" y="76"/>
                    </a:moveTo>
                    <a:cubicBezTo>
                      <a:pt x="130" y="69"/>
                      <a:pt x="130" y="69"/>
                      <a:pt x="130" y="69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7" y="74"/>
                      <a:pt x="175" y="69"/>
                      <a:pt x="182" y="64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79" y="74"/>
                      <a:pt x="175" y="77"/>
                      <a:pt x="171" y="79"/>
                    </a:cubicBezTo>
                    <a:cubicBezTo>
                      <a:pt x="167" y="81"/>
                      <a:pt x="163" y="83"/>
                      <a:pt x="159" y="85"/>
                    </a:cubicBezTo>
                    <a:lnTo>
                      <a:pt x="131" y="76"/>
                    </a:lnTo>
                    <a:close/>
                    <a:moveTo>
                      <a:pt x="127" y="83"/>
                    </a:moveTo>
                    <a:cubicBezTo>
                      <a:pt x="128" y="91"/>
                      <a:pt x="128" y="91"/>
                      <a:pt x="128" y="91"/>
                    </a:cubicBezTo>
                    <a:cubicBezTo>
                      <a:pt x="125" y="91"/>
                      <a:pt x="122" y="91"/>
                      <a:pt x="119" y="90"/>
                    </a:cubicBezTo>
                    <a:cubicBezTo>
                      <a:pt x="121" y="88"/>
                      <a:pt x="124" y="86"/>
                      <a:pt x="126" y="84"/>
                    </a:cubicBezTo>
                    <a:cubicBezTo>
                      <a:pt x="126" y="83"/>
                      <a:pt x="126" y="83"/>
                      <a:pt x="126" y="83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9"/>
                      <a:pt x="127" y="79"/>
                      <a:pt x="127" y="79"/>
                    </a:cubicBezTo>
                    <a:cubicBezTo>
                      <a:pt x="129" y="80"/>
                      <a:pt x="129" y="80"/>
                      <a:pt x="129" y="80"/>
                    </a:cubicBezTo>
                    <a:cubicBezTo>
                      <a:pt x="131" y="80"/>
                      <a:pt x="131" y="80"/>
                      <a:pt x="131" y="80"/>
                    </a:cubicBezTo>
                    <a:cubicBezTo>
                      <a:pt x="127" y="83"/>
                      <a:pt x="127" y="83"/>
                      <a:pt x="127" y="83"/>
                    </a:cubicBezTo>
                    <a:moveTo>
                      <a:pt x="254" y="318"/>
                    </a:moveTo>
                    <a:cubicBezTo>
                      <a:pt x="248" y="314"/>
                      <a:pt x="247" y="311"/>
                      <a:pt x="241" y="307"/>
                    </a:cubicBezTo>
                    <a:cubicBezTo>
                      <a:pt x="243" y="297"/>
                      <a:pt x="244" y="222"/>
                      <a:pt x="245" y="213"/>
                    </a:cubicBezTo>
                    <a:cubicBezTo>
                      <a:pt x="236" y="202"/>
                      <a:pt x="236" y="202"/>
                      <a:pt x="236" y="202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43" y="175"/>
                      <a:pt x="250" y="132"/>
                      <a:pt x="239" y="115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25" y="125"/>
                      <a:pt x="218" y="127"/>
                      <a:pt x="176" y="124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205" y="119"/>
                      <a:pt x="221" y="122"/>
                      <a:pt x="241" y="97"/>
                    </a:cubicBezTo>
                    <a:cubicBezTo>
                      <a:pt x="240" y="81"/>
                      <a:pt x="241" y="79"/>
                      <a:pt x="235" y="65"/>
                    </a:cubicBezTo>
                    <a:cubicBezTo>
                      <a:pt x="235" y="65"/>
                      <a:pt x="227" y="62"/>
                      <a:pt x="217" y="58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3" y="52"/>
                      <a:pt x="213" y="52"/>
                      <a:pt x="213" y="52"/>
                    </a:cubicBezTo>
                    <a:cubicBezTo>
                      <a:pt x="215" y="50"/>
                      <a:pt x="215" y="50"/>
                      <a:pt x="215" y="50"/>
                    </a:cubicBezTo>
                    <a:cubicBezTo>
                      <a:pt x="216" y="49"/>
                      <a:pt x="216" y="49"/>
                      <a:pt x="216" y="49"/>
                    </a:cubicBezTo>
                    <a:cubicBezTo>
                      <a:pt x="214" y="37"/>
                      <a:pt x="214" y="37"/>
                      <a:pt x="214" y="37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3" y="35"/>
                      <a:pt x="213" y="35"/>
                      <a:pt x="213" y="35"/>
                    </a:cubicBezTo>
                    <a:cubicBezTo>
                      <a:pt x="214" y="34"/>
                      <a:pt x="214" y="34"/>
                      <a:pt x="214" y="3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7" y="21"/>
                      <a:pt x="207" y="21"/>
                      <a:pt x="207" y="21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79" y="12"/>
                      <a:pt x="179" y="12"/>
                      <a:pt x="179" y="12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66" y="25"/>
                      <a:pt x="153" y="35"/>
                      <a:pt x="138" y="43"/>
                    </a:cubicBezTo>
                    <a:cubicBezTo>
                      <a:pt x="122" y="31"/>
                      <a:pt x="106" y="17"/>
                      <a:pt x="96" y="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9" y="22"/>
                      <a:pt x="60" y="23"/>
                      <a:pt x="61" y="25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33" y="50"/>
                      <a:pt x="24" y="54"/>
                      <a:pt x="14" y="63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17" y="125"/>
                      <a:pt x="17" y="125"/>
                      <a:pt x="17" y="125"/>
                    </a:cubicBezTo>
                    <a:cubicBezTo>
                      <a:pt x="4" y="154"/>
                      <a:pt x="5" y="281"/>
                      <a:pt x="13" y="313"/>
                    </a:cubicBezTo>
                    <a:cubicBezTo>
                      <a:pt x="7" y="313"/>
                      <a:pt x="10" y="314"/>
                      <a:pt x="4" y="315"/>
                    </a:cubicBezTo>
                    <a:cubicBezTo>
                      <a:pt x="2" y="319"/>
                      <a:pt x="1" y="323"/>
                      <a:pt x="0" y="327"/>
                    </a:cubicBezTo>
                    <a:cubicBezTo>
                      <a:pt x="84" y="347"/>
                      <a:pt x="172" y="347"/>
                      <a:pt x="256" y="327"/>
                    </a:cubicBezTo>
                    <a:cubicBezTo>
                      <a:pt x="254" y="324"/>
                      <a:pt x="256" y="321"/>
                      <a:pt x="254" y="3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</p:grpSp>
      </p:grp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5233B636-58E1-A9E6-8561-8655668D854D}"/>
              </a:ext>
            </a:extLst>
          </p:cNvPr>
          <p:cNvGrpSpPr/>
          <p:nvPr/>
        </p:nvGrpSpPr>
        <p:grpSpPr>
          <a:xfrm>
            <a:off x="3331530" y="2747172"/>
            <a:ext cx="371707" cy="371707"/>
            <a:chOff x="3331530" y="2747172"/>
            <a:chExt cx="371707" cy="37170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6DFD0173-650C-FA64-69F5-A0EF02C31657}"/>
                </a:ext>
              </a:extLst>
            </p:cNvPr>
            <p:cNvSpPr/>
            <p:nvPr/>
          </p:nvSpPr>
          <p:spPr>
            <a:xfrm>
              <a:off x="3331530" y="2747172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54" name="Graphic 2053">
              <a:extLst>
                <a:ext uri="{FF2B5EF4-FFF2-40B4-BE49-F238E27FC236}">
                  <a16:creationId xmlns:a16="http://schemas.microsoft.com/office/drawing/2014/main" id="{C3F8A960-3A7B-BDFD-2E8C-910B58FB6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14702" y="2832835"/>
              <a:ext cx="206637" cy="206637"/>
            </a:xfrm>
            <a:prstGeom prst="rect">
              <a:avLst/>
            </a:prstGeom>
          </p:spPr>
        </p:pic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DC02F1A0-25B2-A0F2-0C44-2D08B5337EDF}"/>
              </a:ext>
            </a:extLst>
          </p:cNvPr>
          <p:cNvGrpSpPr/>
          <p:nvPr/>
        </p:nvGrpSpPr>
        <p:grpSpPr>
          <a:xfrm>
            <a:off x="1665229" y="2789786"/>
            <a:ext cx="371707" cy="371707"/>
            <a:chOff x="1665229" y="2789786"/>
            <a:chExt cx="371707" cy="37170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709278C-C274-5901-1FC5-304BE7C7B888}"/>
                </a:ext>
              </a:extLst>
            </p:cNvPr>
            <p:cNvSpPr/>
            <p:nvPr/>
          </p:nvSpPr>
          <p:spPr>
            <a:xfrm>
              <a:off x="1665229" y="2789786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2071" name="Group 2070">
              <a:extLst>
                <a:ext uri="{FF2B5EF4-FFF2-40B4-BE49-F238E27FC236}">
                  <a16:creationId xmlns:a16="http://schemas.microsoft.com/office/drawing/2014/main" id="{7B5B5EEB-405B-3175-92E9-6D56446095CF}"/>
                </a:ext>
              </a:extLst>
            </p:cNvPr>
            <p:cNvGrpSpPr/>
            <p:nvPr/>
          </p:nvGrpSpPr>
          <p:grpSpPr>
            <a:xfrm>
              <a:off x="1741883" y="2896617"/>
              <a:ext cx="219771" cy="186473"/>
              <a:chOff x="57150" y="5867400"/>
              <a:chExt cx="1714500" cy="1600200"/>
            </a:xfrm>
            <a:solidFill>
              <a:schemeClr val="accent4"/>
            </a:solidFill>
          </p:grpSpPr>
          <p:sp>
            <p:nvSpPr>
              <p:cNvPr id="2068" name="Freeform: Shape 2067">
                <a:extLst>
                  <a:ext uri="{FF2B5EF4-FFF2-40B4-BE49-F238E27FC236}">
                    <a16:creationId xmlns:a16="http://schemas.microsoft.com/office/drawing/2014/main" id="{8AB64CFB-0A00-0EDA-B0B2-EE320404D374}"/>
                  </a:ext>
                </a:extLst>
              </p:cNvPr>
              <p:cNvSpPr/>
              <p:nvPr/>
            </p:nvSpPr>
            <p:spPr>
              <a:xfrm>
                <a:off x="57150" y="5867400"/>
                <a:ext cx="1714500" cy="1600200"/>
              </a:xfrm>
              <a:custGeom>
                <a:avLst/>
                <a:gdLst>
                  <a:gd name="connsiteX0" fmla="*/ 400050 w 1714500"/>
                  <a:gd name="connsiteY0" fmla="*/ 1600200 h 1600200"/>
                  <a:gd name="connsiteX1" fmla="*/ 375247 w 1714500"/>
                  <a:gd name="connsiteY1" fmla="*/ 1594542 h 1600200"/>
                  <a:gd name="connsiteX2" fmla="*/ 342900 w 1714500"/>
                  <a:gd name="connsiteY2" fmla="*/ 1543050 h 1600200"/>
                  <a:gd name="connsiteX3" fmla="*/ 342900 w 1714500"/>
                  <a:gd name="connsiteY3" fmla="*/ 1257300 h 1600200"/>
                  <a:gd name="connsiteX4" fmla="*/ 171450 w 1714500"/>
                  <a:gd name="connsiteY4" fmla="*/ 1257300 h 1600200"/>
                  <a:gd name="connsiteX5" fmla="*/ 0 w 1714500"/>
                  <a:gd name="connsiteY5" fmla="*/ 1085850 h 1600200"/>
                  <a:gd name="connsiteX6" fmla="*/ 0 w 1714500"/>
                  <a:gd name="connsiteY6" fmla="*/ 171450 h 1600200"/>
                  <a:gd name="connsiteX7" fmla="*/ 171450 w 1714500"/>
                  <a:gd name="connsiteY7" fmla="*/ 0 h 1600200"/>
                  <a:gd name="connsiteX8" fmla="*/ 1543050 w 1714500"/>
                  <a:gd name="connsiteY8" fmla="*/ 0 h 1600200"/>
                  <a:gd name="connsiteX9" fmla="*/ 1714500 w 1714500"/>
                  <a:gd name="connsiteY9" fmla="*/ 171450 h 1600200"/>
                  <a:gd name="connsiteX10" fmla="*/ 1714500 w 1714500"/>
                  <a:gd name="connsiteY10" fmla="*/ 1085850 h 1600200"/>
                  <a:gd name="connsiteX11" fmla="*/ 1543050 w 1714500"/>
                  <a:gd name="connsiteY11" fmla="*/ 1257300 h 1600200"/>
                  <a:gd name="connsiteX12" fmla="*/ 848735 w 1714500"/>
                  <a:gd name="connsiteY12" fmla="*/ 1257300 h 1600200"/>
                  <a:gd name="connsiteX13" fmla="*/ 435769 w 1714500"/>
                  <a:gd name="connsiteY13" fmla="*/ 1587684 h 1600200"/>
                  <a:gd name="connsiteX14" fmla="*/ 400050 w 1714500"/>
                  <a:gd name="connsiteY14" fmla="*/ 1600200 h 1600200"/>
                  <a:gd name="connsiteX15" fmla="*/ 171450 w 1714500"/>
                  <a:gd name="connsiteY15" fmla="*/ 114300 h 1600200"/>
                  <a:gd name="connsiteX16" fmla="*/ 114300 w 1714500"/>
                  <a:gd name="connsiteY16" fmla="*/ 171450 h 1600200"/>
                  <a:gd name="connsiteX17" fmla="*/ 114300 w 1714500"/>
                  <a:gd name="connsiteY17" fmla="*/ 1085850 h 1600200"/>
                  <a:gd name="connsiteX18" fmla="*/ 171450 w 1714500"/>
                  <a:gd name="connsiteY18" fmla="*/ 1143000 h 1600200"/>
                  <a:gd name="connsiteX19" fmla="*/ 400050 w 1714500"/>
                  <a:gd name="connsiteY19" fmla="*/ 1143000 h 1600200"/>
                  <a:gd name="connsiteX20" fmla="*/ 457200 w 1714500"/>
                  <a:gd name="connsiteY20" fmla="*/ 1200150 h 1600200"/>
                  <a:gd name="connsiteX21" fmla="*/ 457200 w 1714500"/>
                  <a:gd name="connsiteY21" fmla="*/ 1424178 h 1600200"/>
                  <a:gd name="connsiteX22" fmla="*/ 792956 w 1714500"/>
                  <a:gd name="connsiteY22" fmla="*/ 1155516 h 1600200"/>
                  <a:gd name="connsiteX23" fmla="*/ 828675 w 1714500"/>
                  <a:gd name="connsiteY23" fmla="*/ 1143000 h 1600200"/>
                  <a:gd name="connsiteX24" fmla="*/ 1543050 w 1714500"/>
                  <a:gd name="connsiteY24" fmla="*/ 1143000 h 1600200"/>
                  <a:gd name="connsiteX25" fmla="*/ 1600200 w 1714500"/>
                  <a:gd name="connsiteY25" fmla="*/ 1085850 h 1600200"/>
                  <a:gd name="connsiteX26" fmla="*/ 1600200 w 1714500"/>
                  <a:gd name="connsiteY26" fmla="*/ 171450 h 1600200"/>
                  <a:gd name="connsiteX27" fmla="*/ 1543050 w 1714500"/>
                  <a:gd name="connsiteY27" fmla="*/ 114300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14500" h="1600200">
                    <a:moveTo>
                      <a:pt x="400050" y="1600200"/>
                    </a:moveTo>
                    <a:cubicBezTo>
                      <a:pt x="391649" y="1600200"/>
                      <a:pt x="383191" y="1598314"/>
                      <a:pt x="375247" y="1594542"/>
                    </a:cubicBezTo>
                    <a:cubicBezTo>
                      <a:pt x="355530" y="1584998"/>
                      <a:pt x="342900" y="1565053"/>
                      <a:pt x="342900" y="1543050"/>
                    </a:cubicBezTo>
                    <a:lnTo>
                      <a:pt x="342900" y="1257300"/>
                    </a:lnTo>
                    <a:lnTo>
                      <a:pt x="171450" y="1257300"/>
                    </a:lnTo>
                    <a:cubicBezTo>
                      <a:pt x="76924" y="1257300"/>
                      <a:pt x="0" y="1180376"/>
                      <a:pt x="0" y="1085850"/>
                    </a:cubicBezTo>
                    <a:lnTo>
                      <a:pt x="0" y="171450"/>
                    </a:lnTo>
                    <a:cubicBezTo>
                      <a:pt x="0" y="76924"/>
                      <a:pt x="76924" y="0"/>
                      <a:pt x="171450" y="0"/>
                    </a:cubicBezTo>
                    <a:lnTo>
                      <a:pt x="1543050" y="0"/>
                    </a:lnTo>
                    <a:cubicBezTo>
                      <a:pt x="1637576" y="0"/>
                      <a:pt x="1714500" y="76924"/>
                      <a:pt x="1714500" y="171450"/>
                    </a:cubicBezTo>
                    <a:lnTo>
                      <a:pt x="1714500" y="1085850"/>
                    </a:lnTo>
                    <a:cubicBezTo>
                      <a:pt x="1714500" y="1180376"/>
                      <a:pt x="1637576" y="1257300"/>
                      <a:pt x="1543050" y="1257300"/>
                    </a:cubicBezTo>
                    <a:lnTo>
                      <a:pt x="848735" y="1257300"/>
                    </a:lnTo>
                    <a:lnTo>
                      <a:pt x="435769" y="1587684"/>
                    </a:lnTo>
                    <a:cubicBezTo>
                      <a:pt x="425425" y="1595971"/>
                      <a:pt x="412794" y="1600200"/>
                      <a:pt x="400050" y="1600200"/>
                    </a:cubicBezTo>
                    <a:close/>
                    <a:moveTo>
                      <a:pt x="171450" y="114300"/>
                    </a:moveTo>
                    <a:cubicBezTo>
                      <a:pt x="139903" y="114300"/>
                      <a:pt x="114300" y="139960"/>
                      <a:pt x="114300" y="171450"/>
                    </a:cubicBezTo>
                    <a:lnTo>
                      <a:pt x="114300" y="1085850"/>
                    </a:lnTo>
                    <a:cubicBezTo>
                      <a:pt x="114300" y="1117340"/>
                      <a:pt x="139903" y="1143000"/>
                      <a:pt x="171450" y="1143000"/>
                    </a:cubicBezTo>
                    <a:lnTo>
                      <a:pt x="400050" y="1143000"/>
                    </a:lnTo>
                    <a:cubicBezTo>
                      <a:pt x="431654" y="1143000"/>
                      <a:pt x="457200" y="1168546"/>
                      <a:pt x="457200" y="1200150"/>
                    </a:cubicBezTo>
                    <a:lnTo>
                      <a:pt x="457200" y="1424178"/>
                    </a:lnTo>
                    <a:lnTo>
                      <a:pt x="792956" y="1155516"/>
                    </a:lnTo>
                    <a:cubicBezTo>
                      <a:pt x="803129" y="1147401"/>
                      <a:pt x="815645" y="1143000"/>
                      <a:pt x="828675" y="1143000"/>
                    </a:cubicBezTo>
                    <a:lnTo>
                      <a:pt x="1543050" y="1143000"/>
                    </a:lnTo>
                    <a:cubicBezTo>
                      <a:pt x="1574597" y="1143000"/>
                      <a:pt x="1600200" y="1117340"/>
                      <a:pt x="1600200" y="1085850"/>
                    </a:cubicBezTo>
                    <a:lnTo>
                      <a:pt x="1600200" y="171450"/>
                    </a:lnTo>
                    <a:cubicBezTo>
                      <a:pt x="1600200" y="139960"/>
                      <a:pt x="1574597" y="114300"/>
                      <a:pt x="1543050" y="114300"/>
                    </a:cubicBezTo>
                    <a:close/>
                  </a:path>
                </a:pathLst>
              </a:custGeom>
              <a:grpFill/>
              <a:ln w="571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pic>
            <p:nvPicPr>
              <p:cNvPr id="2056" name="Graphic 2055">
                <a:extLst>
                  <a:ext uri="{FF2B5EF4-FFF2-40B4-BE49-F238E27FC236}">
                    <a16:creationId xmlns:a16="http://schemas.microsoft.com/office/drawing/2014/main" id="{2DEB3776-4CF1-23D2-561B-1E2D9DA08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3496" y="6019228"/>
                <a:ext cx="932434" cy="932434"/>
              </a:xfrm>
              <a:prstGeom prst="rect">
                <a:avLst/>
              </a:prstGeom>
            </p:spPr>
          </p:pic>
        </p:grpSp>
      </p:grpSp>
      <p:grpSp>
        <p:nvGrpSpPr>
          <p:cNvPr id="2082" name="Group 2081">
            <a:extLst>
              <a:ext uri="{FF2B5EF4-FFF2-40B4-BE49-F238E27FC236}">
                <a16:creationId xmlns:a16="http://schemas.microsoft.com/office/drawing/2014/main" id="{8CF7F306-7174-B8B5-FA9C-5AF2A0A0957C}"/>
              </a:ext>
            </a:extLst>
          </p:cNvPr>
          <p:cNvGrpSpPr/>
          <p:nvPr/>
        </p:nvGrpSpPr>
        <p:grpSpPr>
          <a:xfrm>
            <a:off x="1943890" y="1735489"/>
            <a:ext cx="371707" cy="371707"/>
            <a:chOff x="1943890" y="1735489"/>
            <a:chExt cx="371707" cy="37170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411084B-028C-391A-7E0D-2055BF106BA9}"/>
                </a:ext>
              </a:extLst>
            </p:cNvPr>
            <p:cNvSpPr/>
            <p:nvPr/>
          </p:nvSpPr>
          <p:spPr>
            <a:xfrm>
              <a:off x="1943890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0" name="Graphic 2059">
              <a:extLst>
                <a:ext uri="{FF2B5EF4-FFF2-40B4-BE49-F238E27FC236}">
                  <a16:creationId xmlns:a16="http://schemas.microsoft.com/office/drawing/2014/main" id="{9C097FEA-5CF9-019F-0914-04D58C3AE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2637409">
              <a:off x="2011412" y="1799750"/>
              <a:ext cx="236280" cy="236280"/>
            </a:xfrm>
            <a:prstGeom prst="rect">
              <a:avLst/>
            </a:prstGeom>
          </p:spPr>
        </p:pic>
      </p:grpSp>
      <p:grpSp>
        <p:nvGrpSpPr>
          <p:cNvPr id="2081" name="Group 2080">
            <a:extLst>
              <a:ext uri="{FF2B5EF4-FFF2-40B4-BE49-F238E27FC236}">
                <a16:creationId xmlns:a16="http://schemas.microsoft.com/office/drawing/2014/main" id="{7717D072-F9E1-9A15-56CC-B1D0378E782B}"/>
              </a:ext>
            </a:extLst>
          </p:cNvPr>
          <p:cNvGrpSpPr/>
          <p:nvPr/>
        </p:nvGrpSpPr>
        <p:grpSpPr>
          <a:xfrm>
            <a:off x="3033976" y="1735489"/>
            <a:ext cx="371707" cy="371707"/>
            <a:chOff x="3033976" y="1735489"/>
            <a:chExt cx="371707" cy="371707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0703807-C72F-F7FF-64D1-9A1070F391D8}"/>
                </a:ext>
              </a:extLst>
            </p:cNvPr>
            <p:cNvSpPr/>
            <p:nvPr/>
          </p:nvSpPr>
          <p:spPr>
            <a:xfrm>
              <a:off x="3033976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6" name="Graphic 2065">
              <a:extLst>
                <a:ext uri="{FF2B5EF4-FFF2-40B4-BE49-F238E27FC236}">
                  <a16:creationId xmlns:a16="http://schemas.microsoft.com/office/drawing/2014/main" id="{ED8F8308-9A60-85FC-19A9-7309A8CFE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14161" y="1809751"/>
              <a:ext cx="206078" cy="206078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018620B-287C-49D5-97A2-57ABDFEA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3573B2-7296-48E3-95D1-AF3DEBBCFA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E54C09-8D42-4D16-8848-6A2A8EF17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640FFF4-AE67-45B0-8100-548C847366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93DDA2-C6D9-4309-8452-72FB3470EE5B}"/>
              </a:ext>
            </a:extLst>
          </p:cNvPr>
          <p:cNvSpPr txBox="1"/>
          <p:nvPr/>
        </p:nvSpPr>
        <p:spPr>
          <a:xfrm>
            <a:off x="1469306" y="1271905"/>
            <a:ext cx="24241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400" b="1" dirty="0" err="1"/>
              <a:t>sem</a:t>
            </a:r>
            <a:r>
              <a:rPr lang="de-DE" sz="1400" b="1" dirty="0"/>
              <a:t> </a:t>
            </a:r>
            <a:r>
              <a:rPr lang="de-DE" sz="1400" b="1" dirty="0" err="1"/>
              <a:t>neque</a:t>
            </a:r>
            <a:r>
              <a:rPr lang="de-DE" sz="1400" b="1" dirty="0"/>
              <a:t> sed</a:t>
            </a:r>
            <a:endParaRPr lang="de-DE" sz="1400" b="1" dirty="0">
              <a:latin typeface="+mn-lt"/>
            </a:endParaRPr>
          </a:p>
        </p:txBody>
      </p:sp>
      <p:sp>
        <p:nvSpPr>
          <p:cNvPr id="2073" name="Textplatzhalter 4">
            <a:extLst>
              <a:ext uri="{FF2B5EF4-FFF2-40B4-BE49-F238E27FC236}">
                <a16:creationId xmlns:a16="http://schemas.microsoft.com/office/drawing/2014/main" id="{D2F0F781-019F-F2F0-CC3D-D497583CA981}"/>
              </a:ext>
            </a:extLst>
          </p:cNvPr>
          <p:cNvSpPr txBox="1">
            <a:spLocks/>
          </p:cNvSpPr>
          <p:nvPr/>
        </p:nvSpPr>
        <p:spPr bwMode="gray">
          <a:xfrm>
            <a:off x="524869" y="1779662"/>
            <a:ext cx="100811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  <a:t>71%</a:t>
            </a:r>
            <a:b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4" name="Textplatzhalter 4">
            <a:extLst>
              <a:ext uri="{FF2B5EF4-FFF2-40B4-BE49-F238E27FC236}">
                <a16:creationId xmlns:a16="http://schemas.microsoft.com/office/drawing/2014/main" id="{5F57ABFC-203C-8972-AC42-86845CA1375F}"/>
              </a:ext>
            </a:extLst>
          </p:cNvPr>
          <p:cNvSpPr txBox="1">
            <a:spLocks/>
          </p:cNvSpPr>
          <p:nvPr/>
        </p:nvSpPr>
        <p:spPr bwMode="gray">
          <a:xfrm>
            <a:off x="431540" y="2643758"/>
            <a:ext cx="1104417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  <a:t>80%</a:t>
            </a:r>
            <a:b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5" name="Textplatzhalter 4">
            <a:extLst>
              <a:ext uri="{FF2B5EF4-FFF2-40B4-BE49-F238E27FC236}">
                <a16:creationId xmlns:a16="http://schemas.microsoft.com/office/drawing/2014/main" id="{CB43969E-9E73-8C0F-E306-A8959EE9E1AD}"/>
              </a:ext>
            </a:extLst>
          </p:cNvPr>
          <p:cNvSpPr txBox="1">
            <a:spLocks/>
          </p:cNvSpPr>
          <p:nvPr/>
        </p:nvSpPr>
        <p:spPr bwMode="gray">
          <a:xfrm>
            <a:off x="1736636" y="3739213"/>
            <a:ext cx="21983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  <a:t>70%</a:t>
            </a:r>
            <a:b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6" name="Textplatzhalter 4">
            <a:extLst>
              <a:ext uri="{FF2B5EF4-FFF2-40B4-BE49-F238E27FC236}">
                <a16:creationId xmlns:a16="http://schemas.microsoft.com/office/drawing/2014/main" id="{D6DE1AE3-3F23-7CAB-0004-BFF8B421CE50}"/>
              </a:ext>
            </a:extLst>
          </p:cNvPr>
          <p:cNvSpPr txBox="1">
            <a:spLocks/>
          </p:cNvSpPr>
          <p:nvPr/>
        </p:nvSpPr>
        <p:spPr bwMode="gray">
          <a:xfrm>
            <a:off x="3851920" y="2787774"/>
            <a:ext cx="137031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br>
              <a:rPr lang="en-GB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  <a:t>145 minutes </a:t>
            </a:r>
            <a:b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</a:t>
            </a:r>
            <a:b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7" name="Textplatzhalter 4">
            <a:extLst>
              <a:ext uri="{FF2B5EF4-FFF2-40B4-BE49-F238E27FC236}">
                <a16:creationId xmlns:a16="http://schemas.microsoft.com/office/drawing/2014/main" id="{ABC0BCF7-CADC-8A33-A440-C2D28F2B42A5}"/>
              </a:ext>
            </a:extLst>
          </p:cNvPr>
          <p:cNvSpPr txBox="1">
            <a:spLocks/>
          </p:cNvSpPr>
          <p:nvPr/>
        </p:nvSpPr>
        <p:spPr bwMode="gray">
          <a:xfrm>
            <a:off x="3851920" y="1779662"/>
            <a:ext cx="136815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  <a:t>82%</a:t>
            </a:r>
            <a:b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86" name="Freeform: Shape 2085">
            <a:extLst>
              <a:ext uri="{FF2B5EF4-FFF2-40B4-BE49-F238E27FC236}">
                <a16:creationId xmlns:a16="http://schemas.microsoft.com/office/drawing/2014/main" id="{6F0B7F09-759C-32A9-F902-E3B16B7CE3AF}"/>
              </a:ext>
            </a:extLst>
          </p:cNvPr>
          <p:cNvSpPr/>
          <p:nvPr/>
        </p:nvSpPr>
        <p:spPr>
          <a:xfrm>
            <a:off x="1555750" y="1568450"/>
            <a:ext cx="2260600" cy="2279650"/>
          </a:xfrm>
          <a:custGeom>
            <a:avLst/>
            <a:gdLst>
              <a:gd name="connsiteX0" fmla="*/ 1130300 w 2260600"/>
              <a:gd name="connsiteY0" fmla="*/ 19050 h 2279650"/>
              <a:gd name="connsiteX1" fmla="*/ 1136650 w 2260600"/>
              <a:gd name="connsiteY1" fmla="*/ 463550 h 2279650"/>
              <a:gd name="connsiteX2" fmla="*/ 1803400 w 2260600"/>
              <a:gd name="connsiteY2" fmla="*/ 850900 h 2279650"/>
              <a:gd name="connsiteX3" fmla="*/ 2127250 w 2260600"/>
              <a:gd name="connsiteY3" fmla="*/ 768350 h 2279650"/>
              <a:gd name="connsiteX4" fmla="*/ 2260600 w 2260600"/>
              <a:gd name="connsiteY4" fmla="*/ 1206500 h 2279650"/>
              <a:gd name="connsiteX5" fmla="*/ 2159000 w 2260600"/>
              <a:gd name="connsiteY5" fmla="*/ 1898650 h 2279650"/>
              <a:gd name="connsiteX6" fmla="*/ 1130300 w 2260600"/>
              <a:gd name="connsiteY6" fmla="*/ 2279650 h 2279650"/>
              <a:gd name="connsiteX7" fmla="*/ 546100 w 2260600"/>
              <a:gd name="connsiteY7" fmla="*/ 2203450 h 2279650"/>
              <a:gd name="connsiteX8" fmla="*/ 101600 w 2260600"/>
              <a:gd name="connsiteY8" fmla="*/ 1778000 h 2279650"/>
              <a:gd name="connsiteX9" fmla="*/ 0 w 2260600"/>
              <a:gd name="connsiteY9" fmla="*/ 1257300 h 2279650"/>
              <a:gd name="connsiteX10" fmla="*/ 146050 w 2260600"/>
              <a:gd name="connsiteY10" fmla="*/ 285750 h 2279650"/>
              <a:gd name="connsiteX11" fmla="*/ 508000 w 2260600"/>
              <a:gd name="connsiteY11" fmla="*/ 0 h 2279650"/>
              <a:gd name="connsiteX12" fmla="*/ 1130300 w 2260600"/>
              <a:gd name="connsiteY12" fmla="*/ 19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60600" h="2279650">
                <a:moveTo>
                  <a:pt x="1130300" y="19050"/>
                </a:moveTo>
                <a:cubicBezTo>
                  <a:pt x="1132417" y="167217"/>
                  <a:pt x="1134533" y="315383"/>
                  <a:pt x="1136650" y="463550"/>
                </a:cubicBezTo>
                <a:lnTo>
                  <a:pt x="1803400" y="850900"/>
                </a:lnTo>
                <a:lnTo>
                  <a:pt x="2127250" y="768350"/>
                </a:lnTo>
                <a:lnTo>
                  <a:pt x="2260600" y="1206500"/>
                </a:lnTo>
                <a:lnTo>
                  <a:pt x="2159000" y="1898650"/>
                </a:lnTo>
                <a:lnTo>
                  <a:pt x="1130300" y="2279650"/>
                </a:lnTo>
                <a:lnTo>
                  <a:pt x="546100" y="2203450"/>
                </a:lnTo>
                <a:lnTo>
                  <a:pt x="101600" y="1778000"/>
                </a:lnTo>
                <a:lnTo>
                  <a:pt x="0" y="1257300"/>
                </a:lnTo>
                <a:lnTo>
                  <a:pt x="146050" y="285750"/>
                </a:lnTo>
                <a:lnTo>
                  <a:pt x="508000" y="0"/>
                </a:lnTo>
                <a:lnTo>
                  <a:pt x="1130300" y="1905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088" name="Freeform: Shape 2087">
            <a:extLst>
              <a:ext uri="{FF2B5EF4-FFF2-40B4-BE49-F238E27FC236}">
                <a16:creationId xmlns:a16="http://schemas.microsoft.com/office/drawing/2014/main" id="{3DD5171D-2632-84A1-DDEB-1368BE10991C}"/>
              </a:ext>
            </a:extLst>
          </p:cNvPr>
          <p:cNvSpPr/>
          <p:nvPr/>
        </p:nvSpPr>
        <p:spPr>
          <a:xfrm>
            <a:off x="1585913" y="1481138"/>
            <a:ext cx="2252662" cy="2066925"/>
          </a:xfrm>
          <a:custGeom>
            <a:avLst/>
            <a:gdLst>
              <a:gd name="connsiteX0" fmla="*/ 485775 w 2252662"/>
              <a:gd name="connsiteY0" fmla="*/ 2019300 h 2066925"/>
              <a:gd name="connsiteX1" fmla="*/ 676275 w 2252662"/>
              <a:gd name="connsiteY1" fmla="*/ 1752600 h 2066925"/>
              <a:gd name="connsiteX2" fmla="*/ 1524000 w 2252662"/>
              <a:gd name="connsiteY2" fmla="*/ 1766887 h 2066925"/>
              <a:gd name="connsiteX3" fmla="*/ 1762125 w 2252662"/>
              <a:gd name="connsiteY3" fmla="*/ 2066925 h 2066925"/>
              <a:gd name="connsiteX4" fmla="*/ 2128837 w 2252662"/>
              <a:gd name="connsiteY4" fmla="*/ 1795462 h 2066925"/>
              <a:gd name="connsiteX5" fmla="*/ 2252662 w 2252662"/>
              <a:gd name="connsiteY5" fmla="*/ 1466850 h 2066925"/>
              <a:gd name="connsiteX6" fmla="*/ 2152650 w 2252662"/>
              <a:gd name="connsiteY6" fmla="*/ 466725 h 2066925"/>
              <a:gd name="connsiteX7" fmla="*/ 1900237 w 2252662"/>
              <a:gd name="connsiteY7" fmla="*/ 119062 h 2066925"/>
              <a:gd name="connsiteX8" fmla="*/ 971550 w 2252662"/>
              <a:gd name="connsiteY8" fmla="*/ 0 h 2066925"/>
              <a:gd name="connsiteX9" fmla="*/ 928687 w 2252662"/>
              <a:gd name="connsiteY9" fmla="*/ 4762 h 2066925"/>
              <a:gd name="connsiteX10" fmla="*/ 114300 w 2252662"/>
              <a:gd name="connsiteY10" fmla="*/ 57150 h 2066925"/>
              <a:gd name="connsiteX11" fmla="*/ 0 w 2252662"/>
              <a:gd name="connsiteY11" fmla="*/ 1042987 h 2066925"/>
              <a:gd name="connsiteX12" fmla="*/ 23812 w 2252662"/>
              <a:gd name="connsiteY12" fmla="*/ 1895475 h 2066925"/>
              <a:gd name="connsiteX13" fmla="*/ 485775 w 2252662"/>
              <a:gd name="connsiteY13" fmla="*/ 2019300 h 206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52662" h="2066925">
                <a:moveTo>
                  <a:pt x="485775" y="2019300"/>
                </a:moveTo>
                <a:lnTo>
                  <a:pt x="676275" y="1752600"/>
                </a:lnTo>
                <a:lnTo>
                  <a:pt x="1524000" y="1766887"/>
                </a:lnTo>
                <a:lnTo>
                  <a:pt x="1762125" y="2066925"/>
                </a:lnTo>
                <a:lnTo>
                  <a:pt x="2128837" y="1795462"/>
                </a:lnTo>
                <a:lnTo>
                  <a:pt x="2252662" y="1466850"/>
                </a:lnTo>
                <a:lnTo>
                  <a:pt x="2152650" y="466725"/>
                </a:lnTo>
                <a:lnTo>
                  <a:pt x="1900237" y="119062"/>
                </a:lnTo>
                <a:lnTo>
                  <a:pt x="971550" y="0"/>
                </a:lnTo>
                <a:lnTo>
                  <a:pt x="928687" y="4762"/>
                </a:lnTo>
                <a:lnTo>
                  <a:pt x="114300" y="57150"/>
                </a:lnTo>
                <a:lnTo>
                  <a:pt x="0" y="1042987"/>
                </a:lnTo>
                <a:lnTo>
                  <a:pt x="23812" y="1895475"/>
                </a:lnTo>
                <a:lnTo>
                  <a:pt x="485775" y="201930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grpSp>
        <p:nvGrpSpPr>
          <p:cNvPr id="57" name="Group 373">
            <a:extLst>
              <a:ext uri="{FF2B5EF4-FFF2-40B4-BE49-F238E27FC236}">
                <a16:creationId xmlns:a16="http://schemas.microsoft.com/office/drawing/2014/main" id="{D35EF578-79E7-2BCE-4E0C-1641345C67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75508" y="2320495"/>
            <a:ext cx="560975" cy="601546"/>
            <a:chOff x="1195" y="787"/>
            <a:chExt cx="318" cy="341"/>
          </a:xfrm>
          <a:solidFill>
            <a:schemeClr val="accent6"/>
          </a:solidFill>
        </p:grpSpPr>
        <p:sp>
          <p:nvSpPr>
            <p:cNvPr id="58" name="Freeform 374">
              <a:extLst>
                <a:ext uri="{FF2B5EF4-FFF2-40B4-BE49-F238E27FC236}">
                  <a16:creationId xmlns:a16="http://schemas.microsoft.com/office/drawing/2014/main" id="{CBCB11D0-1B43-D0C0-50F4-A23C9C81D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787"/>
              <a:ext cx="147" cy="96"/>
            </a:xfrm>
            <a:custGeom>
              <a:avLst/>
              <a:gdLst>
                <a:gd name="T0" fmla="*/ 1 w 147"/>
                <a:gd name="T1" fmla="*/ 86 h 96"/>
                <a:gd name="T2" fmla="*/ 3 w 147"/>
                <a:gd name="T3" fmla="*/ 91 h 96"/>
                <a:gd name="T4" fmla="*/ 7 w 147"/>
                <a:gd name="T5" fmla="*/ 94 h 96"/>
                <a:gd name="T6" fmla="*/ 12 w 147"/>
                <a:gd name="T7" fmla="*/ 92 h 96"/>
                <a:gd name="T8" fmla="*/ 16 w 147"/>
                <a:gd name="T9" fmla="*/ 90 h 96"/>
                <a:gd name="T10" fmla="*/ 21 w 147"/>
                <a:gd name="T11" fmla="*/ 85 h 96"/>
                <a:gd name="T12" fmla="*/ 27 w 147"/>
                <a:gd name="T13" fmla="*/ 78 h 96"/>
                <a:gd name="T14" fmla="*/ 31 w 147"/>
                <a:gd name="T15" fmla="*/ 70 h 96"/>
                <a:gd name="T16" fmla="*/ 37 w 147"/>
                <a:gd name="T17" fmla="*/ 61 h 96"/>
                <a:gd name="T18" fmla="*/ 39 w 147"/>
                <a:gd name="T19" fmla="*/ 67 h 96"/>
                <a:gd name="T20" fmla="*/ 43 w 147"/>
                <a:gd name="T21" fmla="*/ 73 h 96"/>
                <a:gd name="T22" fmla="*/ 47 w 147"/>
                <a:gd name="T23" fmla="*/ 78 h 96"/>
                <a:gd name="T24" fmla="*/ 53 w 147"/>
                <a:gd name="T25" fmla="*/ 82 h 96"/>
                <a:gd name="T26" fmla="*/ 59 w 147"/>
                <a:gd name="T27" fmla="*/ 86 h 96"/>
                <a:gd name="T28" fmla="*/ 65 w 147"/>
                <a:gd name="T29" fmla="*/ 89 h 96"/>
                <a:gd name="T30" fmla="*/ 72 w 147"/>
                <a:gd name="T31" fmla="*/ 91 h 96"/>
                <a:gd name="T32" fmla="*/ 79 w 147"/>
                <a:gd name="T33" fmla="*/ 93 h 96"/>
                <a:gd name="T34" fmla="*/ 87 w 147"/>
                <a:gd name="T35" fmla="*/ 93 h 96"/>
                <a:gd name="T36" fmla="*/ 95 w 147"/>
                <a:gd name="T37" fmla="*/ 93 h 96"/>
                <a:gd name="T38" fmla="*/ 102 w 147"/>
                <a:gd name="T39" fmla="*/ 93 h 96"/>
                <a:gd name="T40" fmla="*/ 114 w 147"/>
                <a:gd name="T41" fmla="*/ 90 h 96"/>
                <a:gd name="T42" fmla="*/ 122 w 147"/>
                <a:gd name="T43" fmla="*/ 87 h 96"/>
                <a:gd name="T44" fmla="*/ 127 w 147"/>
                <a:gd name="T45" fmla="*/ 86 h 96"/>
                <a:gd name="T46" fmla="*/ 131 w 147"/>
                <a:gd name="T47" fmla="*/ 88 h 96"/>
                <a:gd name="T48" fmla="*/ 134 w 147"/>
                <a:gd name="T49" fmla="*/ 90 h 96"/>
                <a:gd name="T50" fmla="*/ 138 w 147"/>
                <a:gd name="T51" fmla="*/ 94 h 96"/>
                <a:gd name="T52" fmla="*/ 140 w 147"/>
                <a:gd name="T53" fmla="*/ 96 h 96"/>
                <a:gd name="T54" fmla="*/ 143 w 147"/>
                <a:gd name="T55" fmla="*/ 96 h 96"/>
                <a:gd name="T56" fmla="*/ 145 w 147"/>
                <a:gd name="T57" fmla="*/ 88 h 96"/>
                <a:gd name="T58" fmla="*/ 147 w 147"/>
                <a:gd name="T59" fmla="*/ 79 h 96"/>
                <a:gd name="T60" fmla="*/ 147 w 147"/>
                <a:gd name="T61" fmla="*/ 71 h 96"/>
                <a:gd name="T62" fmla="*/ 147 w 147"/>
                <a:gd name="T63" fmla="*/ 63 h 96"/>
                <a:gd name="T64" fmla="*/ 145 w 147"/>
                <a:gd name="T65" fmla="*/ 55 h 96"/>
                <a:gd name="T66" fmla="*/ 142 w 147"/>
                <a:gd name="T67" fmla="*/ 44 h 96"/>
                <a:gd name="T68" fmla="*/ 135 w 147"/>
                <a:gd name="T69" fmla="*/ 32 h 96"/>
                <a:gd name="T70" fmla="*/ 127 w 147"/>
                <a:gd name="T71" fmla="*/ 21 h 96"/>
                <a:gd name="T72" fmla="*/ 121 w 147"/>
                <a:gd name="T73" fmla="*/ 16 h 96"/>
                <a:gd name="T74" fmla="*/ 114 w 147"/>
                <a:gd name="T75" fmla="*/ 12 h 96"/>
                <a:gd name="T76" fmla="*/ 107 w 147"/>
                <a:gd name="T77" fmla="*/ 8 h 96"/>
                <a:gd name="T78" fmla="*/ 100 w 147"/>
                <a:gd name="T79" fmla="*/ 5 h 96"/>
                <a:gd name="T80" fmla="*/ 94 w 147"/>
                <a:gd name="T81" fmla="*/ 3 h 96"/>
                <a:gd name="T82" fmla="*/ 80 w 147"/>
                <a:gd name="T83" fmla="*/ 1 h 96"/>
                <a:gd name="T84" fmla="*/ 66 w 147"/>
                <a:gd name="T85" fmla="*/ 1 h 96"/>
                <a:gd name="T86" fmla="*/ 51 w 147"/>
                <a:gd name="T87" fmla="*/ 4 h 96"/>
                <a:gd name="T88" fmla="*/ 39 w 147"/>
                <a:gd name="T89" fmla="*/ 8 h 96"/>
                <a:gd name="T90" fmla="*/ 32 w 147"/>
                <a:gd name="T91" fmla="*/ 12 h 96"/>
                <a:gd name="T92" fmla="*/ 26 w 147"/>
                <a:gd name="T93" fmla="*/ 16 h 96"/>
                <a:gd name="T94" fmla="*/ 20 w 147"/>
                <a:gd name="T95" fmla="*/ 21 h 96"/>
                <a:gd name="T96" fmla="*/ 15 w 147"/>
                <a:gd name="T97" fmla="*/ 26 h 96"/>
                <a:gd name="T98" fmla="*/ 11 w 147"/>
                <a:gd name="T99" fmla="*/ 32 h 96"/>
                <a:gd name="T100" fmla="*/ 7 w 147"/>
                <a:gd name="T101" fmla="*/ 38 h 96"/>
                <a:gd name="T102" fmla="*/ 4 w 147"/>
                <a:gd name="T103" fmla="*/ 46 h 96"/>
                <a:gd name="T104" fmla="*/ 1 w 147"/>
                <a:gd name="T105" fmla="*/ 53 h 96"/>
                <a:gd name="T106" fmla="*/ 1 w 147"/>
                <a:gd name="T107" fmla="*/ 62 h 96"/>
                <a:gd name="T108" fmla="*/ 0 w 147"/>
                <a:gd name="T109" fmla="*/ 76 h 96"/>
                <a:gd name="T110" fmla="*/ 1 w 147"/>
                <a:gd name="T111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" h="96">
                  <a:moveTo>
                    <a:pt x="1" y="82"/>
                  </a:moveTo>
                  <a:lnTo>
                    <a:pt x="1" y="84"/>
                  </a:lnTo>
                  <a:lnTo>
                    <a:pt x="1" y="86"/>
                  </a:lnTo>
                  <a:lnTo>
                    <a:pt x="2" y="88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4" y="93"/>
                  </a:lnTo>
                  <a:lnTo>
                    <a:pt x="5" y="94"/>
                  </a:lnTo>
                  <a:lnTo>
                    <a:pt x="7" y="94"/>
                  </a:lnTo>
                  <a:lnTo>
                    <a:pt x="9" y="93"/>
                  </a:lnTo>
                  <a:lnTo>
                    <a:pt x="10" y="93"/>
                  </a:lnTo>
                  <a:lnTo>
                    <a:pt x="12" y="92"/>
                  </a:lnTo>
                  <a:lnTo>
                    <a:pt x="13" y="91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90"/>
                  </a:lnTo>
                  <a:lnTo>
                    <a:pt x="19" y="88"/>
                  </a:lnTo>
                  <a:lnTo>
                    <a:pt x="21" y="85"/>
                  </a:lnTo>
                  <a:lnTo>
                    <a:pt x="24" y="83"/>
                  </a:lnTo>
                  <a:lnTo>
                    <a:pt x="25" y="81"/>
                  </a:lnTo>
                  <a:lnTo>
                    <a:pt x="27" y="78"/>
                  </a:lnTo>
                  <a:lnTo>
                    <a:pt x="28" y="76"/>
                  </a:lnTo>
                  <a:lnTo>
                    <a:pt x="29" y="73"/>
                  </a:lnTo>
                  <a:lnTo>
                    <a:pt x="31" y="70"/>
                  </a:lnTo>
                  <a:lnTo>
                    <a:pt x="34" y="65"/>
                  </a:lnTo>
                  <a:lnTo>
                    <a:pt x="36" y="59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9" y="65"/>
                  </a:lnTo>
                  <a:lnTo>
                    <a:pt x="39" y="67"/>
                  </a:lnTo>
                  <a:lnTo>
                    <a:pt x="41" y="69"/>
                  </a:lnTo>
                  <a:lnTo>
                    <a:pt x="42" y="71"/>
                  </a:lnTo>
                  <a:lnTo>
                    <a:pt x="43" y="73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9" y="80"/>
                  </a:lnTo>
                  <a:lnTo>
                    <a:pt x="51" y="81"/>
                  </a:lnTo>
                  <a:lnTo>
                    <a:pt x="53" y="82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7"/>
                  </a:lnTo>
                  <a:lnTo>
                    <a:pt x="63" y="88"/>
                  </a:lnTo>
                  <a:lnTo>
                    <a:pt x="65" y="89"/>
                  </a:lnTo>
                  <a:lnTo>
                    <a:pt x="67" y="90"/>
                  </a:lnTo>
                  <a:lnTo>
                    <a:pt x="70" y="91"/>
                  </a:lnTo>
                  <a:lnTo>
                    <a:pt x="72" y="91"/>
                  </a:lnTo>
                  <a:lnTo>
                    <a:pt x="74" y="92"/>
                  </a:lnTo>
                  <a:lnTo>
                    <a:pt x="77" y="93"/>
                  </a:lnTo>
                  <a:lnTo>
                    <a:pt x="79" y="93"/>
                  </a:lnTo>
                  <a:lnTo>
                    <a:pt x="82" y="93"/>
                  </a:lnTo>
                  <a:lnTo>
                    <a:pt x="85" y="93"/>
                  </a:lnTo>
                  <a:lnTo>
                    <a:pt x="87" y="93"/>
                  </a:lnTo>
                  <a:lnTo>
                    <a:pt x="90" y="93"/>
                  </a:lnTo>
                  <a:lnTo>
                    <a:pt x="92" y="93"/>
                  </a:lnTo>
                  <a:lnTo>
                    <a:pt x="95" y="93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3"/>
                  </a:lnTo>
                  <a:lnTo>
                    <a:pt x="105" y="91"/>
                  </a:lnTo>
                  <a:lnTo>
                    <a:pt x="109" y="90"/>
                  </a:lnTo>
                  <a:lnTo>
                    <a:pt x="114" y="90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5" y="86"/>
                  </a:lnTo>
                  <a:lnTo>
                    <a:pt x="127" y="86"/>
                  </a:lnTo>
                  <a:lnTo>
                    <a:pt x="129" y="87"/>
                  </a:lnTo>
                  <a:lnTo>
                    <a:pt x="130" y="87"/>
                  </a:lnTo>
                  <a:lnTo>
                    <a:pt x="131" y="88"/>
                  </a:lnTo>
                  <a:lnTo>
                    <a:pt x="132" y="88"/>
                  </a:lnTo>
                  <a:lnTo>
                    <a:pt x="133" y="89"/>
                  </a:lnTo>
                  <a:lnTo>
                    <a:pt x="134" y="90"/>
                  </a:lnTo>
                  <a:lnTo>
                    <a:pt x="135" y="91"/>
                  </a:lnTo>
                  <a:lnTo>
                    <a:pt x="137" y="93"/>
                  </a:lnTo>
                  <a:lnTo>
                    <a:pt x="138" y="94"/>
                  </a:lnTo>
                  <a:lnTo>
                    <a:pt x="139" y="94"/>
                  </a:lnTo>
                  <a:lnTo>
                    <a:pt x="140" y="95"/>
                  </a:lnTo>
                  <a:lnTo>
                    <a:pt x="140" y="96"/>
                  </a:lnTo>
                  <a:lnTo>
                    <a:pt x="142" y="96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5" y="93"/>
                  </a:lnTo>
                  <a:lnTo>
                    <a:pt x="145" y="91"/>
                  </a:lnTo>
                  <a:lnTo>
                    <a:pt x="145" y="88"/>
                  </a:lnTo>
                  <a:lnTo>
                    <a:pt x="146" y="85"/>
                  </a:lnTo>
                  <a:lnTo>
                    <a:pt x="147" y="82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7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5" y="58"/>
                  </a:lnTo>
                  <a:lnTo>
                    <a:pt x="145" y="55"/>
                  </a:lnTo>
                  <a:lnTo>
                    <a:pt x="145" y="53"/>
                  </a:lnTo>
                  <a:lnTo>
                    <a:pt x="143" y="48"/>
                  </a:lnTo>
                  <a:lnTo>
                    <a:pt x="142" y="44"/>
                  </a:lnTo>
                  <a:lnTo>
                    <a:pt x="140" y="39"/>
                  </a:lnTo>
                  <a:lnTo>
                    <a:pt x="137" y="35"/>
                  </a:lnTo>
                  <a:lnTo>
                    <a:pt x="135" y="32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7" y="21"/>
                  </a:lnTo>
                  <a:lnTo>
                    <a:pt x="125" y="19"/>
                  </a:lnTo>
                  <a:lnTo>
                    <a:pt x="123" y="18"/>
                  </a:lnTo>
                  <a:lnTo>
                    <a:pt x="121" y="16"/>
                  </a:lnTo>
                  <a:lnTo>
                    <a:pt x="118" y="15"/>
                  </a:lnTo>
                  <a:lnTo>
                    <a:pt x="117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7" y="8"/>
                  </a:lnTo>
                  <a:lnTo>
                    <a:pt x="105" y="7"/>
                  </a:lnTo>
                  <a:lnTo>
                    <a:pt x="103" y="6"/>
                  </a:lnTo>
                  <a:lnTo>
                    <a:pt x="100" y="5"/>
                  </a:lnTo>
                  <a:lnTo>
                    <a:pt x="98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0" y="1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6" y="5"/>
                  </a:lnTo>
                  <a:lnTo>
                    <a:pt x="41" y="7"/>
                  </a:lnTo>
                  <a:lnTo>
                    <a:pt x="39" y="8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0" y="13"/>
                  </a:lnTo>
                  <a:lnTo>
                    <a:pt x="27" y="15"/>
                  </a:lnTo>
                  <a:lnTo>
                    <a:pt x="26" y="16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20" y="21"/>
                  </a:lnTo>
                  <a:lnTo>
                    <a:pt x="18" y="22"/>
                  </a:lnTo>
                  <a:lnTo>
                    <a:pt x="17" y="24"/>
                  </a:lnTo>
                  <a:lnTo>
                    <a:pt x="15" y="26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1" y="32"/>
                  </a:lnTo>
                  <a:lnTo>
                    <a:pt x="9" y="34"/>
                  </a:lnTo>
                  <a:lnTo>
                    <a:pt x="8" y="37"/>
                  </a:lnTo>
                  <a:lnTo>
                    <a:pt x="7" y="38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4" y="46"/>
                  </a:lnTo>
                  <a:lnTo>
                    <a:pt x="3" y="48"/>
                  </a:lnTo>
                  <a:lnTo>
                    <a:pt x="2" y="51"/>
                  </a:lnTo>
                  <a:lnTo>
                    <a:pt x="1" y="53"/>
                  </a:lnTo>
                  <a:lnTo>
                    <a:pt x="1" y="57"/>
                  </a:lnTo>
                  <a:lnTo>
                    <a:pt x="1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375">
              <a:extLst>
                <a:ext uri="{FF2B5EF4-FFF2-40B4-BE49-F238E27FC236}">
                  <a16:creationId xmlns:a16="http://schemas.microsoft.com/office/drawing/2014/main" id="{9DD0FFAB-EFAE-83EC-43A2-3728B4847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" y="908"/>
              <a:ext cx="318" cy="220"/>
            </a:xfrm>
            <a:custGeom>
              <a:avLst/>
              <a:gdLst>
                <a:gd name="T0" fmla="*/ 314 w 318"/>
                <a:gd name="T1" fmla="*/ 160 h 220"/>
                <a:gd name="T2" fmla="*/ 305 w 318"/>
                <a:gd name="T3" fmla="*/ 145 h 220"/>
                <a:gd name="T4" fmla="*/ 294 w 318"/>
                <a:gd name="T5" fmla="*/ 133 h 220"/>
                <a:gd name="T6" fmla="*/ 280 w 318"/>
                <a:gd name="T7" fmla="*/ 123 h 220"/>
                <a:gd name="T8" fmla="*/ 250 w 318"/>
                <a:gd name="T9" fmla="*/ 106 h 220"/>
                <a:gd name="T10" fmla="*/ 260 w 318"/>
                <a:gd name="T11" fmla="*/ 105 h 220"/>
                <a:gd name="T12" fmla="*/ 268 w 318"/>
                <a:gd name="T13" fmla="*/ 102 h 220"/>
                <a:gd name="T14" fmla="*/ 274 w 318"/>
                <a:gd name="T15" fmla="*/ 97 h 220"/>
                <a:gd name="T16" fmla="*/ 263 w 318"/>
                <a:gd name="T17" fmla="*/ 94 h 220"/>
                <a:gd name="T18" fmla="*/ 256 w 318"/>
                <a:gd name="T19" fmla="*/ 91 h 220"/>
                <a:gd name="T20" fmla="*/ 245 w 318"/>
                <a:gd name="T21" fmla="*/ 82 h 220"/>
                <a:gd name="T22" fmla="*/ 238 w 318"/>
                <a:gd name="T23" fmla="*/ 67 h 220"/>
                <a:gd name="T24" fmla="*/ 234 w 318"/>
                <a:gd name="T25" fmla="*/ 49 h 220"/>
                <a:gd name="T26" fmla="*/ 231 w 318"/>
                <a:gd name="T27" fmla="*/ 1 h 220"/>
                <a:gd name="T28" fmla="*/ 219 w 318"/>
                <a:gd name="T29" fmla="*/ 7 h 220"/>
                <a:gd name="T30" fmla="*/ 209 w 318"/>
                <a:gd name="T31" fmla="*/ 30 h 220"/>
                <a:gd name="T32" fmla="*/ 197 w 318"/>
                <a:gd name="T33" fmla="*/ 46 h 220"/>
                <a:gd name="T34" fmla="*/ 191 w 318"/>
                <a:gd name="T35" fmla="*/ 54 h 220"/>
                <a:gd name="T36" fmla="*/ 191 w 318"/>
                <a:gd name="T37" fmla="*/ 61 h 220"/>
                <a:gd name="T38" fmla="*/ 196 w 318"/>
                <a:gd name="T39" fmla="*/ 73 h 220"/>
                <a:gd name="T40" fmla="*/ 193 w 318"/>
                <a:gd name="T41" fmla="*/ 87 h 220"/>
                <a:gd name="T42" fmla="*/ 185 w 318"/>
                <a:gd name="T43" fmla="*/ 96 h 220"/>
                <a:gd name="T44" fmla="*/ 173 w 318"/>
                <a:gd name="T45" fmla="*/ 101 h 220"/>
                <a:gd name="T46" fmla="*/ 155 w 318"/>
                <a:gd name="T47" fmla="*/ 102 h 220"/>
                <a:gd name="T48" fmla="*/ 137 w 318"/>
                <a:gd name="T49" fmla="*/ 96 h 220"/>
                <a:gd name="T50" fmla="*/ 126 w 318"/>
                <a:gd name="T51" fmla="*/ 88 h 220"/>
                <a:gd name="T52" fmla="*/ 122 w 318"/>
                <a:gd name="T53" fmla="*/ 82 h 220"/>
                <a:gd name="T54" fmla="*/ 122 w 318"/>
                <a:gd name="T55" fmla="*/ 76 h 220"/>
                <a:gd name="T56" fmla="*/ 127 w 318"/>
                <a:gd name="T57" fmla="*/ 64 h 220"/>
                <a:gd name="T58" fmla="*/ 128 w 318"/>
                <a:gd name="T59" fmla="*/ 56 h 220"/>
                <a:gd name="T60" fmla="*/ 125 w 318"/>
                <a:gd name="T61" fmla="*/ 49 h 220"/>
                <a:gd name="T62" fmla="*/ 109 w 318"/>
                <a:gd name="T63" fmla="*/ 29 h 220"/>
                <a:gd name="T64" fmla="*/ 103 w 318"/>
                <a:gd name="T65" fmla="*/ 17 h 220"/>
                <a:gd name="T66" fmla="*/ 99 w 318"/>
                <a:gd name="T67" fmla="*/ 6 h 220"/>
                <a:gd name="T68" fmla="*/ 89 w 318"/>
                <a:gd name="T69" fmla="*/ 0 h 220"/>
                <a:gd name="T70" fmla="*/ 88 w 318"/>
                <a:gd name="T71" fmla="*/ 41 h 220"/>
                <a:gd name="T72" fmla="*/ 85 w 318"/>
                <a:gd name="T73" fmla="*/ 60 h 220"/>
                <a:gd name="T74" fmla="*/ 80 w 318"/>
                <a:gd name="T75" fmla="*/ 76 h 220"/>
                <a:gd name="T76" fmla="*/ 70 w 318"/>
                <a:gd name="T77" fmla="*/ 89 h 220"/>
                <a:gd name="T78" fmla="*/ 62 w 318"/>
                <a:gd name="T79" fmla="*/ 93 h 220"/>
                <a:gd name="T80" fmla="*/ 51 w 318"/>
                <a:gd name="T81" fmla="*/ 96 h 220"/>
                <a:gd name="T82" fmla="*/ 51 w 318"/>
                <a:gd name="T83" fmla="*/ 100 h 220"/>
                <a:gd name="T84" fmla="*/ 61 w 318"/>
                <a:gd name="T85" fmla="*/ 104 h 220"/>
                <a:gd name="T86" fmla="*/ 49 w 318"/>
                <a:gd name="T87" fmla="*/ 117 h 220"/>
                <a:gd name="T88" fmla="*/ 30 w 318"/>
                <a:gd name="T89" fmla="*/ 130 h 220"/>
                <a:gd name="T90" fmla="*/ 18 w 318"/>
                <a:gd name="T91" fmla="*/ 141 h 220"/>
                <a:gd name="T92" fmla="*/ 9 w 318"/>
                <a:gd name="T93" fmla="*/ 155 h 220"/>
                <a:gd name="T94" fmla="*/ 2 w 318"/>
                <a:gd name="T95" fmla="*/ 171 h 220"/>
                <a:gd name="T96" fmla="*/ 0 w 318"/>
                <a:gd name="T97" fmla="*/ 187 h 220"/>
                <a:gd name="T98" fmla="*/ 317 w 318"/>
                <a:gd name="T99" fmla="*/ 175 h 220"/>
                <a:gd name="T100" fmla="*/ 154 w 318"/>
                <a:gd name="T101" fmla="*/ 170 h 220"/>
                <a:gd name="T102" fmla="*/ 194 w 318"/>
                <a:gd name="T103" fmla="*/ 9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8" h="220">
                  <a:moveTo>
                    <a:pt x="317" y="175"/>
                  </a:moveTo>
                  <a:lnTo>
                    <a:pt x="317" y="170"/>
                  </a:lnTo>
                  <a:lnTo>
                    <a:pt x="316" y="167"/>
                  </a:lnTo>
                  <a:lnTo>
                    <a:pt x="315" y="163"/>
                  </a:lnTo>
                  <a:lnTo>
                    <a:pt x="314" y="160"/>
                  </a:lnTo>
                  <a:lnTo>
                    <a:pt x="312" y="157"/>
                  </a:lnTo>
                  <a:lnTo>
                    <a:pt x="310" y="153"/>
                  </a:lnTo>
                  <a:lnTo>
                    <a:pt x="309" y="150"/>
                  </a:lnTo>
                  <a:lnTo>
                    <a:pt x="307" y="148"/>
                  </a:lnTo>
                  <a:lnTo>
                    <a:pt x="305" y="145"/>
                  </a:lnTo>
                  <a:lnTo>
                    <a:pt x="303" y="142"/>
                  </a:lnTo>
                  <a:lnTo>
                    <a:pt x="301" y="140"/>
                  </a:lnTo>
                  <a:lnTo>
                    <a:pt x="299" y="137"/>
                  </a:lnTo>
                  <a:lnTo>
                    <a:pt x="296" y="135"/>
                  </a:lnTo>
                  <a:lnTo>
                    <a:pt x="294" y="133"/>
                  </a:lnTo>
                  <a:lnTo>
                    <a:pt x="291" y="130"/>
                  </a:lnTo>
                  <a:lnTo>
                    <a:pt x="289" y="129"/>
                  </a:lnTo>
                  <a:lnTo>
                    <a:pt x="286" y="127"/>
                  </a:lnTo>
                  <a:lnTo>
                    <a:pt x="283" y="125"/>
                  </a:lnTo>
                  <a:lnTo>
                    <a:pt x="280" y="123"/>
                  </a:lnTo>
                  <a:lnTo>
                    <a:pt x="274" y="119"/>
                  </a:lnTo>
                  <a:lnTo>
                    <a:pt x="269" y="115"/>
                  </a:lnTo>
                  <a:lnTo>
                    <a:pt x="262" y="112"/>
                  </a:lnTo>
                  <a:lnTo>
                    <a:pt x="256" y="109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6"/>
                  </a:lnTo>
                  <a:lnTo>
                    <a:pt x="256" y="105"/>
                  </a:lnTo>
                  <a:lnTo>
                    <a:pt x="258" y="105"/>
                  </a:lnTo>
                  <a:lnTo>
                    <a:pt x="260" y="105"/>
                  </a:lnTo>
                  <a:lnTo>
                    <a:pt x="262" y="104"/>
                  </a:lnTo>
                  <a:lnTo>
                    <a:pt x="263" y="104"/>
                  </a:lnTo>
                  <a:lnTo>
                    <a:pt x="265" y="104"/>
                  </a:lnTo>
                  <a:lnTo>
                    <a:pt x="266" y="102"/>
                  </a:lnTo>
                  <a:lnTo>
                    <a:pt x="268" y="102"/>
                  </a:lnTo>
                  <a:lnTo>
                    <a:pt x="269" y="101"/>
                  </a:lnTo>
                  <a:lnTo>
                    <a:pt x="271" y="100"/>
                  </a:lnTo>
                  <a:lnTo>
                    <a:pt x="272" y="99"/>
                  </a:lnTo>
                  <a:lnTo>
                    <a:pt x="273" y="98"/>
                  </a:lnTo>
                  <a:lnTo>
                    <a:pt x="274" y="97"/>
                  </a:lnTo>
                  <a:lnTo>
                    <a:pt x="275" y="96"/>
                  </a:lnTo>
                  <a:lnTo>
                    <a:pt x="271" y="96"/>
                  </a:lnTo>
                  <a:lnTo>
                    <a:pt x="267" y="95"/>
                  </a:lnTo>
                  <a:lnTo>
                    <a:pt x="265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0" y="93"/>
                  </a:lnTo>
                  <a:lnTo>
                    <a:pt x="258" y="92"/>
                  </a:lnTo>
                  <a:lnTo>
                    <a:pt x="257" y="92"/>
                  </a:lnTo>
                  <a:lnTo>
                    <a:pt x="256" y="91"/>
                  </a:lnTo>
                  <a:lnTo>
                    <a:pt x="254" y="90"/>
                  </a:lnTo>
                  <a:lnTo>
                    <a:pt x="252" y="88"/>
                  </a:lnTo>
                  <a:lnTo>
                    <a:pt x="249" y="86"/>
                  </a:lnTo>
                  <a:lnTo>
                    <a:pt x="248" y="84"/>
                  </a:lnTo>
                  <a:lnTo>
                    <a:pt x="245" y="82"/>
                  </a:lnTo>
                  <a:lnTo>
                    <a:pt x="244" y="79"/>
                  </a:lnTo>
                  <a:lnTo>
                    <a:pt x="242" y="76"/>
                  </a:lnTo>
                  <a:lnTo>
                    <a:pt x="241" y="74"/>
                  </a:lnTo>
                  <a:lnTo>
                    <a:pt x="239" y="70"/>
                  </a:lnTo>
                  <a:lnTo>
                    <a:pt x="238" y="67"/>
                  </a:lnTo>
                  <a:lnTo>
                    <a:pt x="237" y="64"/>
                  </a:lnTo>
                  <a:lnTo>
                    <a:pt x="236" y="60"/>
                  </a:lnTo>
                  <a:lnTo>
                    <a:pt x="236" y="56"/>
                  </a:lnTo>
                  <a:lnTo>
                    <a:pt x="235" y="53"/>
                  </a:lnTo>
                  <a:lnTo>
                    <a:pt x="234" y="49"/>
                  </a:lnTo>
                  <a:lnTo>
                    <a:pt x="234" y="41"/>
                  </a:lnTo>
                  <a:lnTo>
                    <a:pt x="233" y="33"/>
                  </a:lnTo>
                  <a:lnTo>
                    <a:pt x="232" y="17"/>
                  </a:lnTo>
                  <a:lnTo>
                    <a:pt x="231" y="9"/>
                  </a:lnTo>
                  <a:lnTo>
                    <a:pt x="231" y="1"/>
                  </a:lnTo>
                  <a:lnTo>
                    <a:pt x="229" y="2"/>
                  </a:lnTo>
                  <a:lnTo>
                    <a:pt x="226" y="4"/>
                  </a:lnTo>
                  <a:lnTo>
                    <a:pt x="223" y="6"/>
                  </a:lnTo>
                  <a:lnTo>
                    <a:pt x="221" y="7"/>
                  </a:lnTo>
                  <a:lnTo>
                    <a:pt x="219" y="7"/>
                  </a:lnTo>
                  <a:lnTo>
                    <a:pt x="216" y="15"/>
                  </a:lnTo>
                  <a:lnTo>
                    <a:pt x="214" y="19"/>
                  </a:lnTo>
                  <a:lnTo>
                    <a:pt x="213" y="23"/>
                  </a:lnTo>
                  <a:lnTo>
                    <a:pt x="211" y="26"/>
                  </a:lnTo>
                  <a:lnTo>
                    <a:pt x="209" y="30"/>
                  </a:lnTo>
                  <a:lnTo>
                    <a:pt x="208" y="33"/>
                  </a:lnTo>
                  <a:lnTo>
                    <a:pt x="205" y="37"/>
                  </a:lnTo>
                  <a:lnTo>
                    <a:pt x="203" y="39"/>
                  </a:lnTo>
                  <a:lnTo>
                    <a:pt x="201" y="41"/>
                  </a:lnTo>
                  <a:lnTo>
                    <a:pt x="197" y="46"/>
                  </a:lnTo>
                  <a:lnTo>
                    <a:pt x="195" y="48"/>
                  </a:lnTo>
                  <a:lnTo>
                    <a:pt x="193" y="51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6"/>
                  </a:lnTo>
                  <a:lnTo>
                    <a:pt x="191" y="58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2" y="63"/>
                  </a:lnTo>
                  <a:lnTo>
                    <a:pt x="193" y="64"/>
                  </a:lnTo>
                  <a:lnTo>
                    <a:pt x="194" y="67"/>
                  </a:lnTo>
                  <a:lnTo>
                    <a:pt x="195" y="70"/>
                  </a:lnTo>
                  <a:lnTo>
                    <a:pt x="196" y="73"/>
                  </a:lnTo>
                  <a:lnTo>
                    <a:pt x="198" y="76"/>
                  </a:lnTo>
                  <a:lnTo>
                    <a:pt x="198" y="78"/>
                  </a:lnTo>
                  <a:lnTo>
                    <a:pt x="198" y="79"/>
                  </a:lnTo>
                  <a:lnTo>
                    <a:pt x="196" y="83"/>
                  </a:lnTo>
                  <a:lnTo>
                    <a:pt x="193" y="87"/>
                  </a:lnTo>
                  <a:lnTo>
                    <a:pt x="191" y="89"/>
                  </a:lnTo>
                  <a:lnTo>
                    <a:pt x="190" y="91"/>
                  </a:lnTo>
                  <a:lnTo>
                    <a:pt x="188" y="92"/>
                  </a:lnTo>
                  <a:lnTo>
                    <a:pt x="186" y="94"/>
                  </a:lnTo>
                  <a:lnTo>
                    <a:pt x="185" y="96"/>
                  </a:lnTo>
                  <a:lnTo>
                    <a:pt x="183" y="97"/>
                  </a:lnTo>
                  <a:lnTo>
                    <a:pt x="180" y="98"/>
                  </a:lnTo>
                  <a:lnTo>
                    <a:pt x="178" y="99"/>
                  </a:lnTo>
                  <a:lnTo>
                    <a:pt x="176" y="100"/>
                  </a:lnTo>
                  <a:lnTo>
                    <a:pt x="173" y="101"/>
                  </a:lnTo>
                  <a:lnTo>
                    <a:pt x="170" y="102"/>
                  </a:lnTo>
                  <a:lnTo>
                    <a:pt x="167" y="102"/>
                  </a:lnTo>
                  <a:lnTo>
                    <a:pt x="165" y="102"/>
                  </a:lnTo>
                  <a:lnTo>
                    <a:pt x="159" y="102"/>
                  </a:lnTo>
                  <a:lnTo>
                    <a:pt x="155" y="102"/>
                  </a:lnTo>
                  <a:lnTo>
                    <a:pt x="152" y="101"/>
                  </a:lnTo>
                  <a:lnTo>
                    <a:pt x="148" y="100"/>
                  </a:lnTo>
                  <a:lnTo>
                    <a:pt x="144" y="99"/>
                  </a:lnTo>
                  <a:lnTo>
                    <a:pt x="140" y="97"/>
                  </a:lnTo>
                  <a:lnTo>
                    <a:pt x="137" y="96"/>
                  </a:lnTo>
                  <a:lnTo>
                    <a:pt x="134" y="94"/>
                  </a:lnTo>
                  <a:lnTo>
                    <a:pt x="131" y="92"/>
                  </a:lnTo>
                  <a:lnTo>
                    <a:pt x="128" y="91"/>
                  </a:lnTo>
                  <a:lnTo>
                    <a:pt x="127" y="89"/>
                  </a:lnTo>
                  <a:lnTo>
                    <a:pt x="126" y="88"/>
                  </a:lnTo>
                  <a:lnTo>
                    <a:pt x="125" y="87"/>
                  </a:lnTo>
                  <a:lnTo>
                    <a:pt x="124" y="86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2" y="82"/>
                  </a:lnTo>
                  <a:lnTo>
                    <a:pt x="122" y="81"/>
                  </a:lnTo>
                  <a:lnTo>
                    <a:pt x="122" y="80"/>
                  </a:lnTo>
                  <a:lnTo>
                    <a:pt x="122" y="79"/>
                  </a:lnTo>
                  <a:lnTo>
                    <a:pt x="122" y="77"/>
                  </a:lnTo>
                  <a:lnTo>
                    <a:pt x="122" y="76"/>
                  </a:lnTo>
                  <a:lnTo>
                    <a:pt x="122" y="74"/>
                  </a:lnTo>
                  <a:lnTo>
                    <a:pt x="123" y="72"/>
                  </a:lnTo>
                  <a:lnTo>
                    <a:pt x="124" y="70"/>
                  </a:lnTo>
                  <a:lnTo>
                    <a:pt x="125" y="67"/>
                  </a:lnTo>
                  <a:lnTo>
                    <a:pt x="127" y="64"/>
                  </a:lnTo>
                  <a:lnTo>
                    <a:pt x="127" y="63"/>
                  </a:lnTo>
                  <a:lnTo>
                    <a:pt x="128" y="61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7" y="53"/>
                  </a:lnTo>
                  <a:lnTo>
                    <a:pt x="126" y="51"/>
                  </a:lnTo>
                  <a:lnTo>
                    <a:pt x="125" y="49"/>
                  </a:lnTo>
                  <a:lnTo>
                    <a:pt x="120" y="44"/>
                  </a:lnTo>
                  <a:lnTo>
                    <a:pt x="117" y="40"/>
                  </a:lnTo>
                  <a:lnTo>
                    <a:pt x="113" y="36"/>
                  </a:lnTo>
                  <a:lnTo>
                    <a:pt x="110" y="31"/>
                  </a:lnTo>
                  <a:lnTo>
                    <a:pt x="109" y="29"/>
                  </a:lnTo>
                  <a:lnTo>
                    <a:pt x="108" y="27"/>
                  </a:lnTo>
                  <a:lnTo>
                    <a:pt x="107" y="25"/>
                  </a:lnTo>
                  <a:lnTo>
                    <a:pt x="105" y="22"/>
                  </a:lnTo>
                  <a:lnTo>
                    <a:pt x="104" y="20"/>
                  </a:lnTo>
                  <a:lnTo>
                    <a:pt x="103" y="17"/>
                  </a:lnTo>
                  <a:lnTo>
                    <a:pt x="102" y="15"/>
                  </a:lnTo>
                  <a:lnTo>
                    <a:pt x="102" y="12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4" y="4"/>
                  </a:lnTo>
                  <a:lnTo>
                    <a:pt x="92" y="2"/>
                  </a:lnTo>
                  <a:lnTo>
                    <a:pt x="89" y="0"/>
                  </a:lnTo>
                  <a:lnTo>
                    <a:pt x="89" y="8"/>
                  </a:lnTo>
                  <a:lnTo>
                    <a:pt x="89" y="16"/>
                  </a:lnTo>
                  <a:lnTo>
                    <a:pt x="89" y="25"/>
                  </a:lnTo>
                  <a:lnTo>
                    <a:pt x="88" y="33"/>
                  </a:lnTo>
                  <a:lnTo>
                    <a:pt x="88" y="41"/>
                  </a:lnTo>
                  <a:lnTo>
                    <a:pt x="87" y="45"/>
                  </a:lnTo>
                  <a:lnTo>
                    <a:pt x="87" y="49"/>
                  </a:lnTo>
                  <a:lnTo>
                    <a:pt x="87" y="53"/>
                  </a:lnTo>
                  <a:lnTo>
                    <a:pt x="86" y="56"/>
                  </a:lnTo>
                  <a:lnTo>
                    <a:pt x="85" y="60"/>
                  </a:lnTo>
                  <a:lnTo>
                    <a:pt x="84" y="64"/>
                  </a:lnTo>
                  <a:lnTo>
                    <a:pt x="84" y="67"/>
                  </a:lnTo>
                  <a:lnTo>
                    <a:pt x="82" y="71"/>
                  </a:lnTo>
                  <a:lnTo>
                    <a:pt x="81" y="74"/>
                  </a:lnTo>
                  <a:lnTo>
                    <a:pt x="80" y="76"/>
                  </a:lnTo>
                  <a:lnTo>
                    <a:pt x="79" y="79"/>
                  </a:lnTo>
                  <a:lnTo>
                    <a:pt x="77" y="82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70" y="89"/>
                  </a:lnTo>
                  <a:lnTo>
                    <a:pt x="67" y="90"/>
                  </a:lnTo>
                  <a:lnTo>
                    <a:pt x="66" y="91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2" y="93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5" y="95"/>
                  </a:lnTo>
                  <a:lnTo>
                    <a:pt x="51" y="96"/>
                  </a:lnTo>
                  <a:lnTo>
                    <a:pt x="47" y="96"/>
                  </a:lnTo>
                  <a:lnTo>
                    <a:pt x="47" y="97"/>
                  </a:lnTo>
                  <a:lnTo>
                    <a:pt x="49" y="98"/>
                  </a:lnTo>
                  <a:lnTo>
                    <a:pt x="49" y="99"/>
                  </a:lnTo>
                  <a:lnTo>
                    <a:pt x="51" y="100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5" y="102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4" y="105"/>
                  </a:lnTo>
                  <a:lnTo>
                    <a:pt x="67" y="107"/>
                  </a:lnTo>
                  <a:lnTo>
                    <a:pt x="60" y="110"/>
                  </a:lnTo>
                  <a:lnTo>
                    <a:pt x="55" y="113"/>
                  </a:lnTo>
                  <a:lnTo>
                    <a:pt x="49" y="117"/>
                  </a:lnTo>
                  <a:lnTo>
                    <a:pt x="43" y="120"/>
                  </a:lnTo>
                  <a:lnTo>
                    <a:pt x="37" y="124"/>
                  </a:lnTo>
                  <a:lnTo>
                    <a:pt x="35" y="125"/>
                  </a:lnTo>
                  <a:lnTo>
                    <a:pt x="32" y="127"/>
                  </a:lnTo>
                  <a:lnTo>
                    <a:pt x="30" y="130"/>
                  </a:lnTo>
                  <a:lnTo>
                    <a:pt x="27" y="132"/>
                  </a:lnTo>
                  <a:lnTo>
                    <a:pt x="25" y="134"/>
                  </a:lnTo>
                  <a:lnTo>
                    <a:pt x="22" y="136"/>
                  </a:lnTo>
                  <a:lnTo>
                    <a:pt x="21" y="138"/>
                  </a:lnTo>
                  <a:lnTo>
                    <a:pt x="18" y="141"/>
                  </a:lnTo>
                  <a:lnTo>
                    <a:pt x="16" y="143"/>
                  </a:lnTo>
                  <a:lnTo>
                    <a:pt x="14" y="146"/>
                  </a:lnTo>
                  <a:lnTo>
                    <a:pt x="12" y="148"/>
                  </a:lnTo>
                  <a:lnTo>
                    <a:pt x="11" y="152"/>
                  </a:lnTo>
                  <a:lnTo>
                    <a:pt x="9" y="155"/>
                  </a:lnTo>
                  <a:lnTo>
                    <a:pt x="7" y="158"/>
                  </a:lnTo>
                  <a:lnTo>
                    <a:pt x="6" y="161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2" y="171"/>
                  </a:lnTo>
                  <a:lnTo>
                    <a:pt x="2" y="175"/>
                  </a:lnTo>
                  <a:lnTo>
                    <a:pt x="1" y="178"/>
                  </a:lnTo>
                  <a:lnTo>
                    <a:pt x="1" y="183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220"/>
                  </a:lnTo>
                  <a:lnTo>
                    <a:pt x="318" y="220"/>
                  </a:lnTo>
                  <a:lnTo>
                    <a:pt x="318" y="177"/>
                  </a:lnTo>
                  <a:lnTo>
                    <a:pt x="317" y="175"/>
                  </a:lnTo>
                  <a:lnTo>
                    <a:pt x="317" y="175"/>
                  </a:lnTo>
                  <a:close/>
                  <a:moveTo>
                    <a:pt x="113" y="125"/>
                  </a:moveTo>
                  <a:lnTo>
                    <a:pt x="93" y="129"/>
                  </a:lnTo>
                  <a:lnTo>
                    <a:pt x="125" y="93"/>
                  </a:lnTo>
                  <a:lnTo>
                    <a:pt x="125" y="94"/>
                  </a:lnTo>
                  <a:lnTo>
                    <a:pt x="154" y="170"/>
                  </a:lnTo>
                  <a:lnTo>
                    <a:pt x="113" y="125"/>
                  </a:lnTo>
                  <a:close/>
                  <a:moveTo>
                    <a:pt x="205" y="125"/>
                  </a:moveTo>
                  <a:lnTo>
                    <a:pt x="165" y="170"/>
                  </a:lnTo>
                  <a:lnTo>
                    <a:pt x="193" y="94"/>
                  </a:lnTo>
                  <a:lnTo>
                    <a:pt x="194" y="93"/>
                  </a:lnTo>
                  <a:lnTo>
                    <a:pt x="226" y="129"/>
                  </a:lnTo>
                  <a:lnTo>
                    <a:pt x="205" y="125"/>
                  </a:lnTo>
                  <a:lnTo>
                    <a:pt x="20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A1F4AB9-3DF7-B9D6-83A5-D8E2C6D32D45}"/>
              </a:ext>
            </a:extLst>
          </p:cNvPr>
          <p:cNvGrpSpPr/>
          <p:nvPr/>
        </p:nvGrpSpPr>
        <p:grpSpPr>
          <a:xfrm>
            <a:off x="-1260648" y="1146830"/>
            <a:ext cx="2907243" cy="461665"/>
            <a:chOff x="-1260648" y="1146830"/>
            <a:chExt cx="2907243" cy="461665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22216B0-B0D0-89A8-7BD7-090BDD2D4358}"/>
                </a:ext>
              </a:extLst>
            </p:cNvPr>
            <p:cNvSpPr/>
            <p:nvPr/>
          </p:nvSpPr>
          <p:spPr>
            <a:xfrm flipH="1">
              <a:off x="-1260648" y="1203325"/>
              <a:ext cx="2907243" cy="362759"/>
            </a:xfrm>
            <a:custGeom>
              <a:avLst/>
              <a:gdLst>
                <a:gd name="connsiteX0" fmla="*/ 2907243 w 2907243"/>
                <a:gd name="connsiteY0" fmla="*/ 0 h 362759"/>
                <a:gd name="connsiteX1" fmla="*/ 2236302 w 2907243"/>
                <a:gd name="connsiteY1" fmla="*/ 0 h 362759"/>
                <a:gd name="connsiteX2" fmla="*/ 2106354 w 2907243"/>
                <a:gd name="connsiteY2" fmla="*/ 0 h 362759"/>
                <a:gd name="connsiteX3" fmla="*/ 1973026 w 2907243"/>
                <a:gd name="connsiteY3" fmla="*/ 0 h 362759"/>
                <a:gd name="connsiteX4" fmla="*/ 1435413 w 2907243"/>
                <a:gd name="connsiteY4" fmla="*/ 0 h 362759"/>
                <a:gd name="connsiteX5" fmla="*/ 1302085 w 2907243"/>
                <a:gd name="connsiteY5" fmla="*/ 0 h 362759"/>
                <a:gd name="connsiteX6" fmla="*/ 1172137 w 2907243"/>
                <a:gd name="connsiteY6" fmla="*/ 0 h 362759"/>
                <a:gd name="connsiteX7" fmla="*/ 501196 w 2907243"/>
                <a:gd name="connsiteY7" fmla="*/ 0 h 362759"/>
                <a:gd name="connsiteX8" fmla="*/ 0 w 2907243"/>
                <a:gd name="connsiteY8" fmla="*/ 362759 h 362759"/>
                <a:gd name="connsiteX9" fmla="*/ 260971 w 2907243"/>
                <a:gd name="connsiteY9" fmla="*/ 362759 h 362759"/>
                <a:gd name="connsiteX10" fmla="*/ 670941 w 2907243"/>
                <a:gd name="connsiteY10" fmla="*/ 362759 h 362759"/>
                <a:gd name="connsiteX11" fmla="*/ 800889 w 2907243"/>
                <a:gd name="connsiteY11" fmla="*/ 362759 h 362759"/>
                <a:gd name="connsiteX12" fmla="*/ 931912 w 2907243"/>
                <a:gd name="connsiteY12" fmla="*/ 362759 h 362759"/>
                <a:gd name="connsiteX13" fmla="*/ 934217 w 2907243"/>
                <a:gd name="connsiteY13" fmla="*/ 362759 h 362759"/>
                <a:gd name="connsiteX14" fmla="*/ 1061860 w 2907243"/>
                <a:gd name="connsiteY14" fmla="*/ 362759 h 362759"/>
                <a:gd name="connsiteX15" fmla="*/ 1471830 w 2907243"/>
                <a:gd name="connsiteY15" fmla="*/ 362759 h 362759"/>
                <a:gd name="connsiteX16" fmla="*/ 1605158 w 2907243"/>
                <a:gd name="connsiteY16" fmla="*/ 362759 h 362759"/>
                <a:gd name="connsiteX17" fmla="*/ 1732801 w 2907243"/>
                <a:gd name="connsiteY17" fmla="*/ 362759 h 362759"/>
                <a:gd name="connsiteX18" fmla="*/ 1735106 w 2907243"/>
                <a:gd name="connsiteY18" fmla="*/ 362759 h 362759"/>
                <a:gd name="connsiteX19" fmla="*/ 2406047 w 2907243"/>
                <a:gd name="connsiteY19" fmla="*/ 362759 h 36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7243" h="362759">
                  <a:moveTo>
                    <a:pt x="2907243" y="0"/>
                  </a:moveTo>
                  <a:lnTo>
                    <a:pt x="2236302" y="0"/>
                  </a:lnTo>
                  <a:lnTo>
                    <a:pt x="2106354" y="0"/>
                  </a:lnTo>
                  <a:lnTo>
                    <a:pt x="1973026" y="0"/>
                  </a:lnTo>
                  <a:lnTo>
                    <a:pt x="1435413" y="0"/>
                  </a:lnTo>
                  <a:lnTo>
                    <a:pt x="1302085" y="0"/>
                  </a:lnTo>
                  <a:lnTo>
                    <a:pt x="1172137" y="0"/>
                  </a:lnTo>
                  <a:lnTo>
                    <a:pt x="501196" y="0"/>
                  </a:lnTo>
                  <a:lnTo>
                    <a:pt x="0" y="362759"/>
                  </a:lnTo>
                  <a:lnTo>
                    <a:pt x="260971" y="362759"/>
                  </a:lnTo>
                  <a:lnTo>
                    <a:pt x="670941" y="362759"/>
                  </a:lnTo>
                  <a:lnTo>
                    <a:pt x="800889" y="362759"/>
                  </a:lnTo>
                  <a:lnTo>
                    <a:pt x="931912" y="362759"/>
                  </a:lnTo>
                  <a:lnTo>
                    <a:pt x="934217" y="362759"/>
                  </a:lnTo>
                  <a:lnTo>
                    <a:pt x="1061860" y="362759"/>
                  </a:lnTo>
                  <a:lnTo>
                    <a:pt x="1471830" y="362759"/>
                  </a:lnTo>
                  <a:lnTo>
                    <a:pt x="1605158" y="362759"/>
                  </a:lnTo>
                  <a:lnTo>
                    <a:pt x="1732801" y="362759"/>
                  </a:lnTo>
                  <a:lnTo>
                    <a:pt x="1735106" y="362759"/>
                  </a:lnTo>
                  <a:lnTo>
                    <a:pt x="2406047" y="3627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45" name="Textfeld 21">
              <a:extLst>
                <a:ext uri="{FF2B5EF4-FFF2-40B4-BE49-F238E27FC236}">
                  <a16:creationId xmlns:a16="http://schemas.microsoft.com/office/drawing/2014/main" id="{B6C177EF-EB25-AC6A-0A62-167B5846F5B4}"/>
                </a:ext>
              </a:extLst>
            </p:cNvPr>
            <p:cNvSpPr txBox="1"/>
            <p:nvPr/>
          </p:nvSpPr>
          <p:spPr>
            <a:xfrm>
              <a:off x="304478" y="1146830"/>
              <a:ext cx="936104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0</a:t>
              </a:r>
            </a:p>
          </p:txBody>
        </p: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329A949-E10C-53DB-59A9-78279C25EA35}"/>
              </a:ext>
            </a:extLst>
          </p:cNvPr>
          <p:cNvSpPr txBox="1">
            <a:spLocks noChangeAspect="1"/>
          </p:cNvSpPr>
          <p:nvPr/>
        </p:nvSpPr>
        <p:spPr>
          <a:xfrm>
            <a:off x="5301734" y="1203325"/>
            <a:ext cx="3404870" cy="3205163"/>
          </a:xfrm>
          <a:prstGeom prst="rect">
            <a:avLst/>
          </a:prstGeom>
          <a:ln w="3175">
            <a:solidFill>
              <a:srgbClr val="939494"/>
            </a:solidFill>
          </a:ln>
        </p:spPr>
        <p:txBody>
          <a:bodyPr wrap="square" lIns="201168" tIns="731520" rIns="201168" bIns="201168">
            <a:noAutofit/>
          </a:bodyPr>
          <a:lstStyle>
            <a:lvl1pPr marL="0" indent="0" algn="l" defTabSz="685766" rtl="0" eaLnBrk="1" latinLnBrk="0" hangingPunct="1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dirty="0">
              <a:latin typeface="DWS Sans Light" panose="020B0404020101010102" pitchFamily="34" charset="77"/>
              <a:cs typeface="DWS Sans Light" panose="020B0404020101010102" pitchFamily="34" charset="77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86A1999-5C0D-D112-F459-6C4F47FD69E7}"/>
              </a:ext>
            </a:extLst>
          </p:cNvPr>
          <p:cNvSpPr>
            <a:spLocks noChangeAspect="1"/>
          </p:cNvSpPr>
          <p:nvPr/>
        </p:nvSpPr>
        <p:spPr>
          <a:xfrm>
            <a:off x="5404728" y="1323990"/>
            <a:ext cx="2613496" cy="636890"/>
          </a:xfrm>
          <a:custGeom>
            <a:avLst/>
            <a:gdLst>
              <a:gd name="connsiteX0" fmla="*/ 0 w 3480416"/>
              <a:gd name="connsiteY0" fmla="*/ 0 h 365760"/>
              <a:gd name="connsiteX1" fmla="*/ 1368152 w 3480416"/>
              <a:gd name="connsiteY1" fmla="*/ 0 h 365760"/>
              <a:gd name="connsiteX2" fmla="*/ 2112264 w 3480416"/>
              <a:gd name="connsiteY2" fmla="*/ 0 h 365760"/>
              <a:gd name="connsiteX3" fmla="*/ 3480416 w 3480416"/>
              <a:gd name="connsiteY3" fmla="*/ 0 h 365760"/>
              <a:gd name="connsiteX4" fmla="*/ 3166439 w 3480416"/>
              <a:gd name="connsiteY4" fmla="*/ 365760 h 365760"/>
              <a:gd name="connsiteX5" fmla="*/ 1798287 w 3480416"/>
              <a:gd name="connsiteY5" fmla="*/ 365760 h 365760"/>
              <a:gd name="connsiteX6" fmla="*/ 1368152 w 3480416"/>
              <a:gd name="connsiteY6" fmla="*/ 365760 h 365760"/>
              <a:gd name="connsiteX7" fmla="*/ 0 w 3480416"/>
              <a:gd name="connsiteY7" fmla="*/ 36576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0416" h="365760">
                <a:moveTo>
                  <a:pt x="0" y="0"/>
                </a:moveTo>
                <a:lnTo>
                  <a:pt x="1368152" y="0"/>
                </a:lnTo>
                <a:lnTo>
                  <a:pt x="2112264" y="0"/>
                </a:lnTo>
                <a:lnTo>
                  <a:pt x="3480416" y="0"/>
                </a:lnTo>
                <a:lnTo>
                  <a:pt x="3166439" y="365760"/>
                </a:lnTo>
                <a:lnTo>
                  <a:pt x="1798287" y="365760"/>
                </a:lnTo>
                <a:lnTo>
                  <a:pt x="1368152" y="365760"/>
                </a:lnTo>
                <a:lnTo>
                  <a:pt x="0" y="36576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GB" sz="1400" dirty="0">
                <a:solidFill>
                  <a:schemeClr val="tx1"/>
                </a:solidFill>
              </a:rPr>
              <a:t>… </a:t>
            </a:r>
            <a:r>
              <a:rPr lang="nb-NO" sz="1400" dirty="0">
                <a:solidFill>
                  <a:schemeClr val="tx1"/>
                </a:solidFill>
              </a:rPr>
              <a:t>rhoncus ut, </a:t>
            </a:r>
            <a:br>
              <a:rPr lang="nb-NO" sz="1400" dirty="0">
                <a:solidFill>
                  <a:schemeClr val="tx1"/>
                </a:solidFill>
              </a:rPr>
            </a:br>
            <a:r>
              <a:rPr lang="nb-NO" sz="1400" dirty="0">
                <a:solidFill>
                  <a:schemeClr val="tx1"/>
                </a:solidFill>
              </a:rPr>
              <a:t>imperdieta, </a:t>
            </a:r>
            <a:r>
              <a:rPr lang="nb-NO" sz="1400" b="1" dirty="0">
                <a:solidFill>
                  <a:schemeClr val="tx1"/>
                </a:solidFill>
              </a:rPr>
              <a:t>venenati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55" name="Textfeld 21">
            <a:extLst>
              <a:ext uri="{FF2B5EF4-FFF2-40B4-BE49-F238E27FC236}">
                <a16:creationId xmlns:a16="http://schemas.microsoft.com/office/drawing/2014/main" id="{2D335E2A-0CF7-3420-CA91-99333367B6F0}"/>
              </a:ext>
            </a:extLst>
          </p:cNvPr>
          <p:cNvSpPr txBox="1"/>
          <p:nvPr/>
        </p:nvSpPr>
        <p:spPr>
          <a:xfrm>
            <a:off x="5310130" y="3953872"/>
            <a:ext cx="33968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00" dirty="0"/>
              <a:t>Nam eget dui. Etiam rhoncus.</a:t>
            </a:r>
            <a:br>
              <a:rPr lang="pt-BR" sz="1000" dirty="0"/>
            </a:br>
            <a:r>
              <a:rPr lang="pt-BR" sz="1000" b="1" dirty="0"/>
              <a:t>Maecenas tempus</a:t>
            </a:r>
            <a:endParaRPr lang="de-DE" sz="1000" b="1" dirty="0">
              <a:latin typeface="DWS Slab" panose="020B0504030101010102" pitchFamily="34" charset="0"/>
              <a:cs typeface="DWS Slab" panose="020B0504030101010102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D377C4F-BE8C-33D6-6D05-AA2D01692C14}"/>
              </a:ext>
            </a:extLst>
          </p:cNvPr>
          <p:cNvGrpSpPr/>
          <p:nvPr/>
        </p:nvGrpSpPr>
        <p:grpSpPr>
          <a:xfrm>
            <a:off x="7321499" y="1203325"/>
            <a:ext cx="3128869" cy="364446"/>
            <a:chOff x="7321499" y="1203325"/>
            <a:chExt cx="3128869" cy="364446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6D97FC1-7DA9-3129-1F66-76164A3B14BA}"/>
                </a:ext>
              </a:extLst>
            </p:cNvPr>
            <p:cNvSpPr/>
            <p:nvPr/>
          </p:nvSpPr>
          <p:spPr>
            <a:xfrm flipH="1">
              <a:off x="7321499" y="1203325"/>
              <a:ext cx="3128869" cy="364446"/>
            </a:xfrm>
            <a:custGeom>
              <a:avLst/>
              <a:gdLst>
                <a:gd name="connsiteX0" fmla="*/ 4320933 w 4320933"/>
                <a:gd name="connsiteY0" fmla="*/ 0 h 503296"/>
                <a:gd name="connsiteX1" fmla="*/ 0 w 4320933"/>
                <a:gd name="connsiteY1" fmla="*/ 0 h 503296"/>
                <a:gd name="connsiteX2" fmla="*/ 0 w 4320933"/>
                <a:gd name="connsiteY2" fmla="*/ 503296 h 503296"/>
                <a:gd name="connsiteX3" fmla="*/ 630034 w 4320933"/>
                <a:gd name="connsiteY3" fmla="*/ 503296 h 503296"/>
                <a:gd name="connsiteX4" fmla="*/ 2691497 w 4320933"/>
                <a:gd name="connsiteY4" fmla="*/ 503296 h 503296"/>
                <a:gd name="connsiteX5" fmla="*/ 3625567 w 4320933"/>
                <a:gd name="connsiteY5" fmla="*/ 503296 h 50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20933" h="503296">
                  <a:moveTo>
                    <a:pt x="4320933" y="0"/>
                  </a:moveTo>
                  <a:lnTo>
                    <a:pt x="0" y="0"/>
                  </a:lnTo>
                  <a:lnTo>
                    <a:pt x="0" y="503296"/>
                  </a:lnTo>
                  <a:lnTo>
                    <a:pt x="630034" y="503296"/>
                  </a:lnTo>
                  <a:lnTo>
                    <a:pt x="2691497" y="503296"/>
                  </a:lnTo>
                  <a:lnTo>
                    <a:pt x="3625567" y="5032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2050" name="Textfeld 21">
              <a:extLst>
                <a:ext uri="{FF2B5EF4-FFF2-40B4-BE49-F238E27FC236}">
                  <a16:creationId xmlns:a16="http://schemas.microsoft.com/office/drawing/2014/main" id="{7B5E892E-0ED4-AAD2-136B-279EB9CFC588}"/>
                </a:ext>
              </a:extLst>
            </p:cNvPr>
            <p:cNvSpPr txBox="1"/>
            <p:nvPr/>
          </p:nvSpPr>
          <p:spPr>
            <a:xfrm>
              <a:off x="7828096" y="1204235"/>
              <a:ext cx="889000" cy="3468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94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9" presetClass="entr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" dur="250" fill="hold"/>
                                        <p:tgtEl>
                                          <p:spTgt spid="3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09 0.04259 L -2.5E-6 3.2098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20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3" y="-2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135 0.04259 L -3.33333E-6 3.20988E-6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20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213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437 -0.01451 L -2.22222E-6 -3.7037E-7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20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71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6728 L 3.33333E-6 -2.46914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20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4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07 -0.02531 L -5.55556E-7 4.9382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0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53" y="1265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300" fill="hold"/>
                                        <p:tgtEl>
                                          <p:spTgt spid="2081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85" dur="300" fill="hold"/>
                                        <p:tgtEl>
                                          <p:spTgt spid="2084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9" grpId="0">
        <p:bldAsOne/>
      </p:bldGraphic>
      <p:bldGraphic spid="39" grpId="1">
        <p:bldAsOne/>
      </p:bldGraphic>
      <p:bldGraphic spid="39" grpId="2">
        <p:bldAsOne/>
      </p:bldGraphic>
      <p:bldP spid="14" grpId="0"/>
      <p:bldP spid="2073" grpId="0"/>
      <p:bldP spid="2074" grpId="0"/>
      <p:bldP spid="2075" grpId="0"/>
      <p:bldP spid="2076" grpId="0"/>
      <p:bldP spid="2077" grpId="0"/>
      <p:bldP spid="2086" grpId="0" animBg="1"/>
      <p:bldP spid="2086" grpId="1" animBg="1"/>
      <p:bldP spid="2088" grpId="0" animBg="1"/>
      <p:bldP spid="48" grpId="0" animBg="1"/>
      <p:bldP spid="49" grpId="0" animBg="1"/>
      <p:bldP spid="5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32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21" name="Textfeld 21">
            <a:extLst>
              <a:ext uri="{FF2B5EF4-FFF2-40B4-BE49-F238E27FC236}">
                <a16:creationId xmlns:a16="http://schemas.microsoft.com/office/drawing/2014/main" id="{1C6FF58E-7636-F010-980B-13AFFEF18FD3}"/>
              </a:ext>
            </a:extLst>
          </p:cNvPr>
          <p:cNvSpPr txBox="1"/>
          <p:nvPr/>
        </p:nvSpPr>
        <p:spPr>
          <a:xfrm>
            <a:off x="2639326" y="3592562"/>
            <a:ext cx="108012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tellus</a:t>
            </a:r>
            <a:r>
              <a:rPr lang="en-US" sz="900" b="1" dirty="0"/>
              <a:t> </a:t>
            </a:r>
            <a:r>
              <a:rPr lang="en-US" sz="900" b="1" dirty="0" err="1"/>
              <a:t>eget</a:t>
            </a:r>
            <a:r>
              <a:rPr lang="en-US" sz="900" b="1" dirty="0"/>
              <a:t> </a:t>
            </a:r>
            <a:r>
              <a:rPr lang="en-US" sz="900" b="1" dirty="0" err="1"/>
              <a:t>condimentum</a:t>
            </a:r>
            <a:r>
              <a:rPr lang="en-US" sz="900" b="1" dirty="0"/>
              <a:t> </a:t>
            </a:r>
            <a:r>
              <a:rPr lang="en-US" sz="900" b="1" dirty="0" err="1"/>
              <a:t>rhoncus</a:t>
            </a:r>
            <a:endParaRPr lang="en-GB" sz="900" b="1" dirty="0">
              <a:latin typeface="+mn-lt"/>
            </a:endParaRP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2" name="Textfeld 21">
            <a:extLst>
              <a:ext uri="{FF2B5EF4-FFF2-40B4-BE49-F238E27FC236}">
                <a16:creationId xmlns:a16="http://schemas.microsoft.com/office/drawing/2014/main" id="{0E25A449-C9F1-61C8-D8D2-ABD3BEAC1314}"/>
              </a:ext>
            </a:extLst>
          </p:cNvPr>
          <p:cNvSpPr txBox="1"/>
          <p:nvPr/>
        </p:nvSpPr>
        <p:spPr>
          <a:xfrm>
            <a:off x="270483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3" name="Textfeld 21">
            <a:extLst>
              <a:ext uri="{FF2B5EF4-FFF2-40B4-BE49-F238E27FC236}">
                <a16:creationId xmlns:a16="http://schemas.microsoft.com/office/drawing/2014/main" id="{1D385A0B-E93F-108F-5EB2-069FE721263C}"/>
              </a:ext>
            </a:extLst>
          </p:cNvPr>
          <p:cNvSpPr txBox="1"/>
          <p:nvPr/>
        </p:nvSpPr>
        <p:spPr>
          <a:xfrm>
            <a:off x="4230151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blandit</a:t>
            </a:r>
            <a:r>
              <a:rPr lang="en-US" sz="900" b="1" dirty="0"/>
              <a:t> vel, </a:t>
            </a:r>
            <a:r>
              <a:rPr lang="en-US" sz="900" b="1" dirty="0" err="1"/>
              <a:t>luctus</a:t>
            </a:r>
            <a:r>
              <a:rPr lang="en-US" sz="900" b="1" dirty="0"/>
              <a:t> pulvinar</a:t>
            </a:r>
            <a:endParaRPr lang="en-GB" sz="900" b="1" dirty="0">
              <a:latin typeface="+mn-lt"/>
            </a:endParaRPr>
          </a:p>
        </p:txBody>
      </p: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2205B1CA-F899-8093-64AD-016DA7EA799B}"/>
              </a:ext>
            </a:extLst>
          </p:cNvPr>
          <p:cNvSpPr txBox="1"/>
          <p:nvPr/>
        </p:nvSpPr>
        <p:spPr>
          <a:xfrm>
            <a:off x="4295660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64" name="Textfeld 21">
            <a:extLst>
              <a:ext uri="{FF2B5EF4-FFF2-40B4-BE49-F238E27FC236}">
                <a16:creationId xmlns:a16="http://schemas.microsoft.com/office/drawing/2014/main" id="{AF809E52-8A35-C652-240B-34FA41230037}"/>
              </a:ext>
            </a:extLst>
          </p:cNvPr>
          <p:cNvSpPr txBox="1"/>
          <p:nvPr/>
        </p:nvSpPr>
        <p:spPr>
          <a:xfrm>
            <a:off x="5820976" y="3592562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hendrerit</a:t>
            </a:r>
            <a:r>
              <a:rPr lang="en-GB" sz="900" b="1" dirty="0"/>
              <a:t> id, lorem</a:t>
            </a:r>
            <a:endParaRPr lang="en-GB" sz="900" b="1" dirty="0">
              <a:latin typeface="+mn-lt"/>
            </a:endParaRPr>
          </a:p>
        </p:txBody>
      </p: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7" name="Textfeld 21">
            <a:extLst>
              <a:ext uri="{FF2B5EF4-FFF2-40B4-BE49-F238E27FC236}">
                <a16:creationId xmlns:a16="http://schemas.microsoft.com/office/drawing/2014/main" id="{3196CED3-283E-EE87-E655-87CDB138DB5F}"/>
              </a:ext>
            </a:extLst>
          </p:cNvPr>
          <p:cNvSpPr txBox="1"/>
          <p:nvPr/>
        </p:nvSpPr>
        <p:spPr>
          <a:xfrm>
            <a:off x="588648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72" name="Textfeld 21">
            <a:extLst>
              <a:ext uri="{FF2B5EF4-FFF2-40B4-BE49-F238E27FC236}">
                <a16:creationId xmlns:a16="http://schemas.microsoft.com/office/drawing/2014/main" id="{2A556874-8189-5C4D-D913-7D4078E63098}"/>
              </a:ext>
            </a:extLst>
          </p:cNvPr>
          <p:cNvSpPr txBox="1"/>
          <p:nvPr/>
        </p:nvSpPr>
        <p:spPr>
          <a:xfrm>
            <a:off x="7411802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ut</a:t>
            </a:r>
            <a:r>
              <a:rPr lang="en-GB" sz="900" b="1" dirty="0"/>
              <a:t> libero </a:t>
            </a:r>
            <a:r>
              <a:rPr lang="en-GB" sz="900" b="1" dirty="0" err="1"/>
              <a:t>venenatis</a:t>
            </a:r>
            <a:r>
              <a:rPr lang="en-GB" sz="900" b="1" dirty="0"/>
              <a:t> </a:t>
            </a:r>
            <a:r>
              <a:rPr lang="en-GB" sz="900" b="1" dirty="0" err="1"/>
              <a:t>faucibus</a:t>
            </a:r>
            <a:endParaRPr lang="en-GB" sz="900" b="1" dirty="0">
              <a:latin typeface="+mn-lt"/>
            </a:endParaRPr>
          </a:p>
        </p:txBody>
      </p: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5" name="Textfeld 21">
            <a:extLst>
              <a:ext uri="{FF2B5EF4-FFF2-40B4-BE49-F238E27FC236}">
                <a16:creationId xmlns:a16="http://schemas.microsoft.com/office/drawing/2014/main" id="{EA216558-929B-8740-BC66-9FAC15890386}"/>
              </a:ext>
            </a:extLst>
          </p:cNvPr>
          <p:cNvSpPr txBox="1"/>
          <p:nvPr/>
        </p:nvSpPr>
        <p:spPr>
          <a:xfrm>
            <a:off x="7477311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39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05556E-6 -0.02716 L -3.05556E-6 1.11111E-6 " pathEditMode="relative" rAng="0" ptsTypes="AA">
                                      <p:cBhvr>
                                        <p:cTn id="2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8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8889E-6 -0.02716 L -1.38889E-6 1.35802E-6 " pathEditMode="relative" rAng="0" ptsTypes="AA">
                                      <p:cBhvr>
                                        <p:cTn id="43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5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60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7778E-7 -0.02716 L 2.77778E-7 1.60494E-6 " pathEditMode="relative" rAng="0" ptsTypes="AA">
                                      <p:cBhvr>
                                        <p:cTn id="65" dur="8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7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82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94444E-6 -0.02716 L 1.94444E-6 1.35802E-6 " pathEditMode="relative" rAng="0" ptsTypes="AA">
                                      <p:cBhvr>
                                        <p:cTn id="87" dur="8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36" grpId="0"/>
      <p:bldP spid="36" grpId="1"/>
      <p:bldP spid="62" grpId="0"/>
      <p:bldP spid="13" grpId="0"/>
      <p:bldP spid="13" grpId="1"/>
      <p:bldP spid="15" grpId="0"/>
      <p:bldP spid="15" grpId="1"/>
      <p:bldP spid="22" grpId="0"/>
      <p:bldP spid="64" grpId="0"/>
      <p:bldP spid="64" grpId="1"/>
      <p:bldP spid="65" grpId="0"/>
      <p:bldP spid="65" grpId="1"/>
      <p:bldP spid="67" grpId="0"/>
      <p:bldP spid="72" grpId="0"/>
      <p:bldP spid="72" grpId="1"/>
      <p:bldP spid="73" grpId="0"/>
      <p:bldP spid="73" grpId="1"/>
      <p:bldP spid="7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colors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EC844A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EC844A"/>
      </a:hlink>
      <a:folHlink>
        <a:srgbClr val="EC844A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algn="ctr" cap="flat" cmpd="sng" w="9525">
          <a:solidFill>
            <a:schemeClr val="phClr">
              <a:shade val="95000"/>
              <a:satMod val="105000"/>
            </a:schemeClr>
          </a:solidFill>
          <a:prstDash val="solid"/>
        </a:ln>
        <a:ln algn="ctr" cap="flat" cmpd="sng" w="25400">
          <a:solidFill>
            <a:schemeClr val="phClr"/>
          </a:solidFill>
          <a:prstDash val="solid"/>
        </a:ln>
        <a:ln algn="ctr" cap="flat" cmpd="sng"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h="25400" w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b="180000" l="50000" r="50000" t="-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b="50000" l="50000" r="50000" t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anchor="ctr" anchorCtr="0" bIns="91440" compatLnSpc="1" forceAA="0" fromWordArt="0" horzOverflow="overflow" lIns="91440" numCol="1" rIns="91440" rot="0" rtlCol="0" spcCol="0" spcFirstLastPara="0" tIns="91440" vert="horz" vertOverflow="overflow" wrap="square">
        <a:prstTxWarp prst="textNoShape">
          <a:avLst/>
        </a:prstTxWarp>
        <a:noAutofit/>
      </a:bodyPr>
      <a:lstStyle>
        <a:defPPr algn="ctr">
          <a:buClr>
            <a:schemeClr val="bg1"/>
          </a:buClr>
          <a:defRPr b="1" dirty="0" sz="110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rgbClr val="93949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bIns="0" lIns="0" rIns="0" rtlCol="0" tIns="0" wrap="square">
        <a:spAutoFit/>
      </a:bodyPr>
      <a:lstStyle>
        <a:defPPr algn="l">
          <a:spcBef>
            <a:spcPts val="600"/>
          </a:spcBef>
          <a:buClrTx/>
          <a:defRPr dirty="0" err="1" smtClean="0" sz="1000">
            <a:latin typeface="+mn-lt"/>
          </a:defRPr>
        </a:defPPr>
      </a:lstStyle>
    </a:txDef>
  </a:objectDefaults>
  <a:extraClrSchemeLst/>
  <a:custClrLst>
    <a:custClr name="">
      <a:srgbClr val="EC844A"/>
    </a:custClr>
    <a:custClr name="">
      <a:srgbClr val="ABD654"/>
    </a:custClr>
    <a:custClr name="">
      <a:srgbClr val="5A6D78"/>
    </a:custClr>
    <a:custClr name="">
      <a:srgbClr val="AAA299"/>
    </a:custClr>
    <a:custClr name="">
      <a:srgbClr val="60B465"/>
    </a:custClr>
    <a:custClr name="">
      <a:srgbClr val="5DB4DC"/>
    </a:custClr>
    <a:custClr name="">
      <a:srgbClr val="2B5192"/>
    </a:custClr>
    <a:custClr name="">
      <a:srgbClr val="346E70"/>
    </a:custClr>
    <a:custClr name="">
      <a:srgbClr val="786E64"/>
    </a:custClr>
    <a:custClr name="">
      <a:srgbClr val="7DA442"/>
    </a:custClr>
    <a:custClr name="">
      <a:srgbClr val="38763B"/>
    </a:custClr>
    <a:custClr name="">
      <a:srgbClr val="708894"/>
    </a:custClr>
    <a:custClr name="">
      <a:srgbClr val="C0BBB5"/>
    </a:custClr>
    <a:custClr name="">
      <a:srgbClr val="82C486"/>
    </a:custClr>
    <a:custClr name="">
      <a:srgbClr val="86C7E5"/>
    </a:custClr>
    <a:custClr name="">
      <a:srgbClr val="436FBA"/>
    </a:custClr>
    <a:custClr name="">
      <a:srgbClr val="7AC0C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000000"/>
    </a:custClr>
    <a:custClr name="">
      <a:srgbClr val="2B2D2C"/>
    </a:custClr>
    <a:custClr name="">
      <a:srgbClr val="939494"/>
    </a:custClr>
    <a:custClr name="">
      <a:srgbClr val="C7C7C5"/>
    </a:custClr>
    <a:custClr name="">
      <a:srgbClr val="F0F0F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56AEB1"/>
    </a:custClr>
    <a:custClr name="">
      <a:srgbClr val="755BBA"/>
    </a:custClr>
    <a:custClr name="">
      <a:srgbClr val="FFFFFF"/>
    </a:custClr>
    <a:custClr name="">
      <a:srgbClr val="FFFFFF"/>
    </a:custClr>
    <a:custClr name="">
      <a:srgbClr val="83C460"/>
    </a:custClr>
    <a:custClr name="">
      <a:srgbClr val="E84057"/>
    </a:custClr>
    <a:custClr name="">
      <a:srgbClr val="E8C64D"/>
    </a:custClr>
    <a:custClr name="">
      <a:srgbClr val="FFFFFF"/>
    </a:custClr>
    <a:custClr name="">
      <a:srgbClr val="FFFFFF"/>
    </a:custClr>
    <a:custClr name="">
      <a:srgbClr val="D34F8E"/>
    </a:custClr>
    <a:custClr name="yarrr">
      <a:srgbClr val="215423"/>
    </a:custClr>
  </a:custClrLst>
  <a:extLst>
    <a:ext uri="{05A4C25C-085E-4340-85A3-A5531E510DB2}">
      <thm15:themeFamily xmlns:thm15="http://schemas.microsoft.com/office/thememl/2012/main" id="{44C126EE-B01F-4EF3-A011-545264B485BF}" name="template.potx" vid="{38753D0D-B88A-4755-988D-289221B3E141}"/>
    </a:ext>
  </a:extLst>
</a:theme>
</file>

<file path=ppt/theme/theme2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algn="ctr" cap="flat" cmpd="sng" w="6350">
          <a:solidFill>
            <a:schemeClr val="phClr"/>
          </a:solidFill>
          <a:prstDash val="solid"/>
          <a:miter lim="800000"/>
        </a:ln>
        <a:ln algn="ctr" cap="flat" cmpd="sng" w="12700">
          <a:solidFill>
            <a:schemeClr val="phClr"/>
          </a:solidFill>
          <a:prstDash val="solid"/>
          <a:miter lim="800000"/>
        </a:ln>
        <a:ln algn="ctr" cap="flat" cmpd="sng" w="19050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algn="ctr" blurRad="57150" dir="5400000" dist="19050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">
      <a:srgbClr val="EC844A"/>
    </a:custClr>
    <a:custClr name="">
      <a:srgbClr val="ABD654"/>
    </a:custClr>
    <a:custClr name="">
      <a:srgbClr val="5A6D78"/>
    </a:custClr>
    <a:custClr name="">
      <a:srgbClr val="AAA299"/>
    </a:custClr>
    <a:custClr name="">
      <a:srgbClr val="60B465"/>
    </a:custClr>
    <a:custClr name="">
      <a:srgbClr val="5DB4DC"/>
    </a:custClr>
    <a:custClr name="">
      <a:srgbClr val="2B5192"/>
    </a:custClr>
    <a:custClr name="">
      <a:srgbClr val="346E70"/>
    </a:custClr>
    <a:custClr name="">
      <a:srgbClr val="786E64"/>
    </a:custClr>
    <a:custClr name="">
      <a:srgbClr val="7DA442"/>
    </a:custClr>
    <a:custClr name="">
      <a:srgbClr val="38763B"/>
    </a:custClr>
    <a:custClr name="">
      <a:srgbClr val="708894"/>
    </a:custClr>
    <a:custClr name="">
      <a:srgbClr val="C0BBB5"/>
    </a:custClr>
    <a:custClr name="">
      <a:srgbClr val="82C486"/>
    </a:custClr>
    <a:custClr name="">
      <a:srgbClr val="86C7E5"/>
    </a:custClr>
    <a:custClr name="">
      <a:srgbClr val="436FBA"/>
    </a:custClr>
    <a:custClr name="">
      <a:srgbClr val="7AC0C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000000"/>
    </a:custClr>
    <a:custClr name="">
      <a:srgbClr val="2B2D2C"/>
    </a:custClr>
    <a:custClr name="">
      <a:srgbClr val="939494"/>
    </a:custClr>
    <a:custClr name="">
      <a:srgbClr val="C7C7C5"/>
    </a:custClr>
    <a:custClr name="">
      <a:srgbClr val="F0F0F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56AEB1"/>
    </a:custClr>
    <a:custClr name="">
      <a:srgbClr val="755BBA"/>
    </a:custClr>
    <a:custClr name="">
      <a:srgbClr val="FFFFFF"/>
    </a:custClr>
    <a:custClr name="">
      <a:srgbClr val="FFFFFF"/>
    </a:custClr>
    <a:custClr name="">
      <a:srgbClr val="83C460"/>
    </a:custClr>
    <a:custClr name="">
      <a:srgbClr val="E84057"/>
    </a:custClr>
    <a:custClr name="">
      <a:srgbClr val="E8C64D"/>
    </a:custClr>
    <a:custClr name="">
      <a:srgbClr val="FFFFFF"/>
    </a:custClr>
    <a:custClr name="">
      <a:srgbClr val="FFFFFF"/>
    </a:custClr>
    <a:custClr name="">
      <a:srgbClr val="D34F8E"/>
    </a:custClr>
    <a:custClr name="yarrr">
      <a:srgbClr val="215423"/>
    </a:custClr>
    <a:custClr name="testcolor">
      <a:srgbClr val="212341"/>
    </a:custClr>
  </a:custClrLst>
  <a:extLst>
    <a:ext uri="{05A4C25C-085E-4340-85A3-A5531E510DB2}">
      <thm15:themeFamily xmlns:thm15="http://schemas.microsoft.com/office/thememl/2012/main" id="{62F939B6-93AF-4DB8-9C6B-D6C7DFDC589F}" name="Office Theme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algn="ctr" cap="flat" cmpd="sng" w="6350">
          <a:solidFill>
            <a:schemeClr val="phClr"/>
          </a:solidFill>
          <a:prstDash val="solid"/>
          <a:miter lim="800000"/>
        </a:ln>
        <a:ln algn="ctr" cap="flat" cmpd="sng" w="12700">
          <a:solidFill>
            <a:schemeClr val="phClr"/>
          </a:solidFill>
          <a:prstDash val="solid"/>
          <a:miter lim="800000"/>
        </a:ln>
        <a:ln algn="ctr" cap="flat" cmpd="sng" w="19050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algn="ctr" blurRad="57150" dir="5400000" dist="19050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">
      <a:srgbClr val="EC844A"/>
    </a:custClr>
    <a:custClr name="">
      <a:srgbClr val="ABD654"/>
    </a:custClr>
    <a:custClr name="">
      <a:srgbClr val="5A6D78"/>
    </a:custClr>
    <a:custClr name="">
      <a:srgbClr val="AAA299"/>
    </a:custClr>
    <a:custClr name="">
      <a:srgbClr val="60B465"/>
    </a:custClr>
    <a:custClr name="">
      <a:srgbClr val="5DB4DC"/>
    </a:custClr>
    <a:custClr name="">
      <a:srgbClr val="2B5192"/>
    </a:custClr>
    <a:custClr name="">
      <a:srgbClr val="346E70"/>
    </a:custClr>
    <a:custClr name="">
      <a:srgbClr val="786E64"/>
    </a:custClr>
    <a:custClr name="">
      <a:srgbClr val="7DA442"/>
    </a:custClr>
    <a:custClr name="">
      <a:srgbClr val="38763B"/>
    </a:custClr>
    <a:custClr name="">
      <a:srgbClr val="708894"/>
    </a:custClr>
    <a:custClr name="">
      <a:srgbClr val="C0BBB5"/>
    </a:custClr>
    <a:custClr name="">
      <a:srgbClr val="82C486"/>
    </a:custClr>
    <a:custClr name="">
      <a:srgbClr val="86C7E5"/>
    </a:custClr>
    <a:custClr name="">
      <a:srgbClr val="436FBA"/>
    </a:custClr>
    <a:custClr name="">
      <a:srgbClr val="7AC0C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000000"/>
    </a:custClr>
    <a:custClr name="">
      <a:srgbClr val="2B2D2C"/>
    </a:custClr>
    <a:custClr name="">
      <a:srgbClr val="939494"/>
    </a:custClr>
    <a:custClr name="">
      <a:srgbClr val="C7C7C5"/>
    </a:custClr>
    <a:custClr name="">
      <a:srgbClr val="F0F0F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56AEB1"/>
    </a:custClr>
    <a:custClr name="">
      <a:srgbClr val="755BBA"/>
    </a:custClr>
  </a:custClrLst>
  <a:extLst>
    <a:ext uri="{05A4C25C-085E-4340-85A3-A5531E510DB2}">
      <thm15:themeFamily xmlns:thm15="http://schemas.microsoft.com/office/thememl/2012/main" id="{62F939B6-93AF-4DB8-9C6B-D6C7DFDC589F}" name="Office Theme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WS_Xtrackers_Template_PPT_2.1_DWS Fonts_16_9</Template>
  <TotalTime>0</TotalTime>
  <Words>567</Words>
  <Application>Microsoft Office PowerPoint</Application>
  <PresentationFormat>Bildschirmpräsentation (16:9)</PresentationFormat>
  <Paragraphs>168</Paragraphs>
  <Slides>1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DWS Sans Light</vt:lpstr>
      <vt:lpstr>Arial</vt:lpstr>
      <vt:lpstr>Calibri</vt:lpstr>
      <vt:lpstr>DWS Sans TT Bold</vt:lpstr>
      <vt:lpstr>DWS Slab TT Bold</vt:lpstr>
      <vt:lpstr>DWS Sans</vt:lpstr>
      <vt:lpstr>DWS Slab</vt:lpstr>
      <vt:lpstr>Rockwell</vt:lpstr>
      <vt:lpstr>master</vt:lpstr>
      <vt:lpstr>think-cell Folie</vt:lpstr>
      <vt:lpstr>Lorem ipsum</vt:lpstr>
      <vt:lpstr>PowerPoint-Präsentation</vt:lpstr>
      <vt:lpstr>Cum sociis natoque penatibus</vt:lpstr>
      <vt:lpstr>Aenean vulputate eleifend tellus</vt:lpstr>
      <vt:lpstr>Phasellus viverra nulla ut metus </vt:lpstr>
      <vt:lpstr>Blandit vel, luctus pulvinar</vt:lpstr>
      <vt:lpstr>Blandit vel, luctus pulvinar</vt:lpstr>
      <vt:lpstr>Eget condimentum rhoncus</vt:lpstr>
      <vt:lpstr>Sed fringilla mauris sit amet</vt:lpstr>
      <vt:lpstr>Sed fringilla mauris sit amet</vt:lpstr>
      <vt:lpstr> consequat vitae, eleifend</vt:lpstr>
      <vt:lpstr>Pretium quis, sem</vt:lpstr>
      <vt:lpstr>PowerPoint-Präsentation</vt:lpstr>
      <vt:lpstr>Tellus eget condimentum rhoncus</vt:lpstr>
      <vt:lpstr>Tellus eget condimentum rhonc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cp:lastModifiedBy>Fabian Timm</cp:lastModifiedBy>
  <cp:revision>2</cp:revision>
  <cp:lastPrinted>2018-04-16T09:31:12Z</cp:lastPrinted>
  <dcterms:created xsi:type="dcterms:W3CDTF">2022-10-10T09:55:02Z</dcterms:created>
  <dcterms:modified xsi:type="dcterms:W3CDTF">2022-12-20T15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7f8449-e5d3-4eba-8da7-ffd6ca5bf3e9_Enabled">
    <vt:lpwstr>true</vt:lpwstr>
  </property>
  <property fmtid="{D5CDD505-2E9C-101B-9397-08002B2CF9AE}" pid="3" name="MSIP_Label_1b7f8449-e5d3-4eba-8da7-ffd6ca5bf3e9_SetDate">
    <vt:lpwstr>2022-11-28T13:53:23Z</vt:lpwstr>
  </property>
  <property fmtid="{D5CDD505-2E9C-101B-9397-08002B2CF9AE}" pid="4" name="MSIP_Label_1b7f8449-e5d3-4eba-8da7-ffd6ca5bf3e9_Method">
    <vt:lpwstr>Privileged</vt:lpwstr>
  </property>
  <property fmtid="{D5CDD505-2E9C-101B-9397-08002B2CF9AE}" pid="5" name="MSIP_Label_1b7f8449-e5d3-4eba-8da7-ffd6ca5bf3e9_Name">
    <vt:lpwstr>1b7f8449-e5d3-4eba-8da7-ffd6ca5bf3e9</vt:lpwstr>
  </property>
  <property fmtid="{D5CDD505-2E9C-101B-9397-08002B2CF9AE}" pid="6" name="MSIP_Label_1b7f8449-e5d3-4eba-8da7-ffd6ca5bf3e9_SiteId">
    <vt:lpwstr>1e9b61e8-e590-4abc-b1af-24125e330d2a</vt:lpwstr>
  </property>
  <property fmtid="{D5CDD505-2E9C-101B-9397-08002B2CF9AE}" pid="7" name="MSIP_Label_1b7f8449-e5d3-4eba-8da7-ffd6ca5bf3e9_ActionId">
    <vt:lpwstr>0c747b5a-1621-4779-80e3-b6af26248714</vt:lpwstr>
  </property>
  <property fmtid="{D5CDD505-2E9C-101B-9397-08002B2CF9AE}" pid="8" name="MSIP_Label_1b7f8449-e5d3-4eba-8da7-ffd6ca5bf3e9_ContentBits">
    <vt:lpwstr>0</vt:lpwstr>
  </property>
  <property fmtid="{D5CDD505-2E9C-101B-9397-08002B2CF9AE}" pid="9" name="db.comClassification">
    <vt:lpwstr>External Communication</vt:lpwstr>
  </property>
</Properties>
</file>